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4.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743" r:id="rId1"/>
    <p:sldMasterId id="2147483751" r:id="rId2"/>
    <p:sldMasterId id="2147483747" r:id="rId3"/>
    <p:sldMasterId id="2147483756" r:id="rId4"/>
    <p:sldMasterId id="2147483760" r:id="rId5"/>
  </p:sldMasterIdLst>
  <p:notesMasterIdLst>
    <p:notesMasterId r:id="rId23"/>
  </p:notesMasterIdLst>
  <p:handoutMasterIdLst>
    <p:handoutMasterId r:id="rId24"/>
  </p:handoutMasterIdLst>
  <p:sldIdLst>
    <p:sldId id="2887" r:id="rId6"/>
    <p:sldId id="2724" r:id="rId7"/>
    <p:sldId id="258" r:id="rId8"/>
    <p:sldId id="2856" r:id="rId9"/>
    <p:sldId id="3334" r:id="rId10"/>
    <p:sldId id="3342" r:id="rId11"/>
    <p:sldId id="2861" r:id="rId12"/>
    <p:sldId id="2881" r:id="rId13"/>
    <p:sldId id="2894" r:id="rId14"/>
    <p:sldId id="3343" r:id="rId15"/>
    <p:sldId id="2891" r:id="rId16"/>
    <p:sldId id="2892" r:id="rId17"/>
    <p:sldId id="2862" r:id="rId18"/>
    <p:sldId id="2895" r:id="rId19"/>
    <p:sldId id="2896" r:id="rId20"/>
    <p:sldId id="3345" r:id="rId21"/>
    <p:sldId id="3346" r:id="rId22"/>
  </p:sldIdLst>
  <p:sldSz cx="9144000" cy="6858000" type="screen4x3"/>
  <p:notesSz cx="6858000" cy="9144000"/>
  <p:defaultTextStyle>
    <a:defPPr>
      <a:defRPr lang="de-DE"/>
    </a:defPPr>
    <a:lvl1pPr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1pPr>
    <a:lvl2pPr marL="4572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2pPr>
    <a:lvl3pPr marL="9144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3pPr>
    <a:lvl4pPr marL="13716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4pPr>
    <a:lvl5pPr marL="1828800" algn="l" rtl="0" eaLnBrk="0" fontAlgn="base" hangingPunct="0">
      <a:spcBef>
        <a:spcPct val="0"/>
      </a:spcBef>
      <a:spcAft>
        <a:spcPct val="0"/>
      </a:spcAft>
      <a:defRPr sz="2400" kern="1200">
        <a:solidFill>
          <a:schemeClr val="tx1"/>
        </a:solidFill>
        <a:latin typeface="Arial" charset="0"/>
        <a:ea typeface="ＭＳ Ｐゴシック" charset="-128"/>
        <a:cs typeface="ＭＳ Ｐゴシック" charset="-128"/>
      </a:defRPr>
    </a:lvl5pPr>
    <a:lvl6pPr marL="2286000" algn="l" defTabSz="457200" rtl="0" eaLnBrk="1" latinLnBrk="0" hangingPunct="1">
      <a:defRPr sz="2400" kern="1200">
        <a:solidFill>
          <a:schemeClr val="tx1"/>
        </a:solidFill>
        <a:latin typeface="Arial" charset="0"/>
        <a:ea typeface="ＭＳ Ｐゴシック" charset="-128"/>
        <a:cs typeface="ＭＳ Ｐゴシック" charset="-128"/>
      </a:defRPr>
    </a:lvl6pPr>
    <a:lvl7pPr marL="2743200" algn="l" defTabSz="457200" rtl="0" eaLnBrk="1" latinLnBrk="0" hangingPunct="1">
      <a:defRPr sz="2400" kern="1200">
        <a:solidFill>
          <a:schemeClr val="tx1"/>
        </a:solidFill>
        <a:latin typeface="Arial" charset="0"/>
        <a:ea typeface="ＭＳ Ｐゴシック" charset="-128"/>
        <a:cs typeface="ＭＳ Ｐゴシック" charset="-128"/>
      </a:defRPr>
    </a:lvl7pPr>
    <a:lvl8pPr marL="3200400" algn="l" defTabSz="457200" rtl="0" eaLnBrk="1" latinLnBrk="0" hangingPunct="1">
      <a:defRPr sz="2400" kern="1200">
        <a:solidFill>
          <a:schemeClr val="tx1"/>
        </a:solidFill>
        <a:latin typeface="Arial" charset="0"/>
        <a:ea typeface="ＭＳ Ｐゴシック" charset="-128"/>
        <a:cs typeface="ＭＳ Ｐゴシック" charset="-128"/>
      </a:defRPr>
    </a:lvl8pPr>
    <a:lvl9pPr marL="3657600" algn="l" defTabSz="457200" rtl="0" eaLnBrk="1" latinLnBrk="0" hangingPunct="1">
      <a:defRPr sz="2400" kern="1200">
        <a:solidFill>
          <a:schemeClr val="tx1"/>
        </a:solidFill>
        <a:latin typeface="Arial" charset="0"/>
        <a:ea typeface="ＭＳ Ｐゴシック" charset="-128"/>
        <a:cs typeface="ＭＳ Ｐゴシック" charset="-128"/>
      </a:defRPr>
    </a:lvl9pPr>
  </p:defaultTextStyle>
  <p:extLst>
    <p:ext uri="{521415D9-36F7-43E2-AB2F-B90AF26B5E84}">
      <p14:sectionLst xmlns:p14="http://schemas.microsoft.com/office/powerpoint/2010/main">
        <p14:section name="Standardabschnitt" id="{4A2690E9-2C12-A949-B59B-6B04F8004869}">
          <p14:sldIdLst>
            <p14:sldId id="2887"/>
            <p14:sldId id="2724"/>
            <p14:sldId id="258"/>
          </p14:sldIdLst>
        </p14:section>
        <p14:section name="Transferphase 1: Kernbotschaft" id="{B35C8CCB-B172-F844-9B96-5613C27C05F8}">
          <p14:sldIdLst>
            <p14:sldId id="2856"/>
            <p14:sldId id="3334"/>
            <p14:sldId id="3342"/>
          </p14:sldIdLst>
        </p14:section>
        <p14:section name="Transfer-Phase 2: Aktivierung" id="{9C08524E-24E5-3D47-9C00-CF9276A2C9F0}">
          <p14:sldIdLst>
            <p14:sldId id="2861"/>
            <p14:sldId id="2881"/>
            <p14:sldId id="2894"/>
            <p14:sldId id="3343"/>
            <p14:sldId id="2891"/>
            <p14:sldId id="2892"/>
          </p14:sldIdLst>
        </p14:section>
        <p14:section name="Transfer-Phase 3: Reflexion" id="{3C99E0EA-9B6F-6F4E-9D83-658BA893BEFB}">
          <p14:sldIdLst>
            <p14:sldId id="2862"/>
            <p14:sldId id="2895"/>
            <p14:sldId id="2896"/>
            <p14:sldId id="3345"/>
            <p14:sldId id="3346"/>
          </p14:sldIdLst>
        </p14:section>
      </p14:sectionLst>
    </p:ext>
    <p:ext uri="{EFAFB233-063F-42B5-8137-9DF3F51BA10A}">
      <p15:sldGuideLst xmlns:p15="http://schemas.microsoft.com/office/powerpoint/2012/main">
        <p15:guide id="8" pos="5760" userDrawn="1">
          <p15:clr>
            <a:srgbClr val="A4A3A4"/>
          </p15:clr>
        </p15:guide>
        <p15:guide id="9" orient="horz" pos="216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Hanna Kleinschmidt" initials="HK" lastIdx="26" clrIdx="6">
    <p:extLst>
      <p:ext uri="{19B8F6BF-5375-455C-9EA6-DF929625EA0E}">
        <p15:presenceInfo xmlns:p15="http://schemas.microsoft.com/office/powerpoint/2012/main" userId="S::hanna.kleinschmidt@study.tu-dortmund.de::9f914cb8-db78-413b-8bab-59795167b87f" providerId="AD"/>
      </p:ext>
    </p:extLst>
  </p:cmAuthor>
  <p:cmAuthor id="1" name="Peter Pancakes" initials="PP" lastIdx="1" clrIdx="0"/>
  <p:cmAuthor id="8" name="Johanna Brandt" initials="JB" lastIdx="30" clrIdx="7">
    <p:extLst>
      <p:ext uri="{19B8F6BF-5375-455C-9EA6-DF929625EA0E}">
        <p15:presenceInfo xmlns:p15="http://schemas.microsoft.com/office/powerpoint/2012/main" userId="Johanna Brandt" providerId="None"/>
      </p:ext>
    </p:extLst>
  </p:cmAuthor>
  <p:cmAuthor id="2" name="Regine Brandtner" initials="RB" lastIdx="2" clrIdx="1"/>
  <p:cmAuthor id="9" name="jojo.brandt@web.de" initials="j" lastIdx="4" clrIdx="8">
    <p:extLst>
      <p:ext uri="{19B8F6BF-5375-455C-9EA6-DF929625EA0E}">
        <p15:presenceInfo xmlns:p15="http://schemas.microsoft.com/office/powerpoint/2012/main" userId="d6f55873ed7f4da4" providerId="Windows Live"/>
      </p:ext>
    </p:extLst>
  </p:cmAuthor>
  <p:cmAuthor id="3" name="Raja Herold-Blasius" initials="RH" lastIdx="139" clrIdx="2">
    <p:extLst>
      <p:ext uri="{19B8F6BF-5375-455C-9EA6-DF929625EA0E}">
        <p15:presenceInfo xmlns:p15="http://schemas.microsoft.com/office/powerpoint/2012/main" userId="Raja Herold-Blasius" providerId="None"/>
      </p:ext>
    </p:extLst>
  </p:cmAuthor>
  <p:cmAuthor id="10" name="Lilith Pokorra" initials="LP" lastIdx="1" clrIdx="9">
    <p:extLst>
      <p:ext uri="{19B8F6BF-5375-455C-9EA6-DF929625EA0E}">
        <p15:presenceInfo xmlns:p15="http://schemas.microsoft.com/office/powerpoint/2012/main" userId="S::lilith.pokorra@tu-dortmund.de::29887f1b-b715-413d-8f68-9084865f2962" providerId="AD"/>
      </p:ext>
    </p:extLst>
  </p:cmAuthor>
  <p:cmAuthor id="4" name="Microsoft Office User" initials="MOU" lastIdx="44" clrIdx="3">
    <p:extLst>
      <p:ext uri="{19B8F6BF-5375-455C-9EA6-DF929625EA0E}">
        <p15:presenceInfo xmlns:p15="http://schemas.microsoft.com/office/powerpoint/2012/main" userId="Microsoft Office User" providerId="None"/>
      </p:ext>
    </p:extLst>
  </p:cmAuthor>
  <p:cmAuthor id="5" name="esther-wensing@web.de" initials="e" lastIdx="21" clrIdx="4">
    <p:extLst>
      <p:ext uri="{19B8F6BF-5375-455C-9EA6-DF929625EA0E}">
        <p15:presenceInfo xmlns:p15="http://schemas.microsoft.com/office/powerpoint/2012/main" userId="446ac4049f5ab3fe" providerId="Windows Live"/>
      </p:ext>
    </p:extLst>
  </p:cmAuthor>
  <p:cmAuthor id="6" name="Katharina Knaudt" initials="KK" lastIdx="110" clrIdx="5">
    <p:extLst>
      <p:ext uri="{19B8F6BF-5375-455C-9EA6-DF929625EA0E}">
        <p15:presenceInfo xmlns:p15="http://schemas.microsoft.com/office/powerpoint/2012/main" userId="Katharina Knaudt"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hiddenSlides="1"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ECEA"/>
    <a:srgbClr val="4BACC7"/>
    <a:srgbClr val="F89645"/>
    <a:srgbClr val="00B14F"/>
    <a:srgbClr val="1EB3E3"/>
    <a:srgbClr val="7F7F7F"/>
    <a:srgbClr val="000000"/>
    <a:srgbClr val="A6A6A6"/>
    <a:srgbClr val="327A86"/>
    <a:srgbClr val="A441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51BA0CF-6CA2-4E34-A632-20A1A4DFFB9A}" v="236" dt="2024-06-08T19:50:30.301"/>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786"/>
    <p:restoredTop sz="80511" autoAdjust="0"/>
  </p:normalViewPr>
  <p:slideViewPr>
    <p:cSldViewPr snapToGrid="0">
      <p:cViewPr>
        <p:scale>
          <a:sx n="103" d="100"/>
          <a:sy n="103" d="100"/>
        </p:scale>
        <p:origin x="440" y="-624"/>
      </p:cViewPr>
      <p:guideLst>
        <p:guide pos="5760"/>
        <p:guide orient="horz" pos="216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handoutMaster" Target="handoutMasters/handoutMaster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microsoft.com/office/2015/10/relationships/revisionInfo" Target="revisionInfo.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ilith Pokorra" userId="29887f1b-b715-413d-8f68-9084865f2962" providerId="ADAL" clId="{651BA0CF-6CA2-4E34-A632-20A1A4DFFB9A}"/>
    <pc:docChg chg="undo redo custSel addSld delSld modSld sldOrd modSection">
      <pc:chgData name="Lilith Pokorra" userId="29887f1b-b715-413d-8f68-9084865f2962" providerId="ADAL" clId="{651BA0CF-6CA2-4E34-A632-20A1A4DFFB9A}" dt="2024-06-08T19:50:30.300" v="1054" actId="313"/>
      <pc:docMkLst>
        <pc:docMk/>
      </pc:docMkLst>
      <pc:sldChg chg="addSp delSp modSp mod delCm modCm">
        <pc:chgData name="Lilith Pokorra" userId="29887f1b-b715-413d-8f68-9084865f2962" providerId="ADAL" clId="{651BA0CF-6CA2-4E34-A632-20A1A4DFFB9A}" dt="2024-06-05T11:27:33.577" v="346" actId="1592"/>
        <pc:sldMkLst>
          <pc:docMk/>
          <pc:sldMk cId="781050650" sldId="2856"/>
        </pc:sldMkLst>
        <pc:spChg chg="mod">
          <ac:chgData name="Lilith Pokorra" userId="29887f1b-b715-413d-8f68-9084865f2962" providerId="ADAL" clId="{651BA0CF-6CA2-4E34-A632-20A1A4DFFB9A}" dt="2024-05-29T13:21:27.993" v="19" actId="20577"/>
          <ac:spMkLst>
            <pc:docMk/>
            <pc:sldMk cId="781050650" sldId="2856"/>
            <ac:spMk id="2" creationId="{07236072-4A52-C54D-9963-5319D1FFA5BC}"/>
          </ac:spMkLst>
        </pc:spChg>
        <pc:spChg chg="del">
          <ac:chgData name="Lilith Pokorra" userId="29887f1b-b715-413d-8f68-9084865f2962" providerId="ADAL" clId="{651BA0CF-6CA2-4E34-A632-20A1A4DFFB9A}" dt="2024-05-29T13:23:47.988" v="63" actId="478"/>
          <ac:spMkLst>
            <pc:docMk/>
            <pc:sldMk cId="781050650" sldId="2856"/>
            <ac:spMk id="5" creationId="{4B6419FE-682D-754C-B2D1-142EBE7E6B5A}"/>
          </ac:spMkLst>
        </pc:spChg>
        <pc:spChg chg="add mod">
          <ac:chgData name="Lilith Pokorra" userId="29887f1b-b715-413d-8f68-9084865f2962" providerId="ADAL" clId="{651BA0CF-6CA2-4E34-A632-20A1A4DFFB9A}" dt="2024-05-29T13:23:48.314" v="64"/>
          <ac:spMkLst>
            <pc:docMk/>
            <pc:sldMk cId="781050650" sldId="2856"/>
            <ac:spMk id="6" creationId="{242A63DA-47FB-A523-2B7C-B5A8757B28BB}"/>
          </ac:spMkLst>
        </pc:spChg>
        <pc:graphicFrameChg chg="modGraphic">
          <ac:chgData name="Lilith Pokorra" userId="29887f1b-b715-413d-8f68-9084865f2962" providerId="ADAL" clId="{651BA0CF-6CA2-4E34-A632-20A1A4DFFB9A}" dt="2024-05-29T13:21:07.264" v="18" actId="20577"/>
          <ac:graphicFrameMkLst>
            <pc:docMk/>
            <pc:sldMk cId="781050650" sldId="2856"/>
            <ac:graphicFrameMk id="4" creationId="{405ADE95-74F3-E248-9762-1EA17D373EA1}"/>
          </ac:graphicFrameMkLst>
        </pc:graphicFrameChg>
      </pc:sldChg>
      <pc:sldChg chg="modSp mod">
        <pc:chgData name="Lilith Pokorra" userId="29887f1b-b715-413d-8f68-9084865f2962" providerId="ADAL" clId="{651BA0CF-6CA2-4E34-A632-20A1A4DFFB9A}" dt="2024-05-29T13:24:49.379" v="76" actId="20577"/>
        <pc:sldMkLst>
          <pc:docMk/>
          <pc:sldMk cId="1863211647" sldId="2861"/>
        </pc:sldMkLst>
        <pc:spChg chg="mod">
          <ac:chgData name="Lilith Pokorra" userId="29887f1b-b715-413d-8f68-9084865f2962" providerId="ADAL" clId="{651BA0CF-6CA2-4E34-A632-20A1A4DFFB9A}" dt="2024-05-29T13:24:49.379" v="76" actId="20577"/>
          <ac:spMkLst>
            <pc:docMk/>
            <pc:sldMk cId="1863211647" sldId="2861"/>
            <ac:spMk id="5" creationId="{5C65D83D-16B8-824C-AD1A-8831AC2486F6}"/>
          </ac:spMkLst>
        </pc:spChg>
        <pc:graphicFrameChg chg="modGraphic">
          <ac:chgData name="Lilith Pokorra" userId="29887f1b-b715-413d-8f68-9084865f2962" providerId="ADAL" clId="{651BA0CF-6CA2-4E34-A632-20A1A4DFFB9A}" dt="2024-05-29T13:24:45.315" v="72" actId="20577"/>
          <ac:graphicFrameMkLst>
            <pc:docMk/>
            <pc:sldMk cId="1863211647" sldId="2861"/>
            <ac:graphicFrameMk id="4" creationId="{405ADE95-74F3-E248-9762-1EA17D373EA1}"/>
          </ac:graphicFrameMkLst>
        </pc:graphicFrameChg>
      </pc:sldChg>
      <pc:sldChg chg="addSp delSp modSp mod modNotesTx">
        <pc:chgData name="Lilith Pokorra" userId="29887f1b-b715-413d-8f68-9084865f2962" providerId="ADAL" clId="{651BA0CF-6CA2-4E34-A632-20A1A4DFFB9A}" dt="2024-06-05T12:31:16.960" v="931"/>
        <pc:sldMkLst>
          <pc:docMk/>
          <pc:sldMk cId="3949599604" sldId="2881"/>
        </pc:sldMkLst>
        <pc:spChg chg="mod">
          <ac:chgData name="Lilith Pokorra" userId="29887f1b-b715-413d-8f68-9084865f2962" providerId="ADAL" clId="{651BA0CF-6CA2-4E34-A632-20A1A4DFFB9A}" dt="2024-05-29T13:22:02.259" v="25"/>
          <ac:spMkLst>
            <pc:docMk/>
            <pc:sldMk cId="3949599604" sldId="2881"/>
            <ac:spMk id="5" creationId="{D703C2EC-5D2E-89B7-AA46-9E73108F41D6}"/>
          </ac:spMkLst>
        </pc:spChg>
        <pc:spChg chg="mod">
          <ac:chgData name="Lilith Pokorra" userId="29887f1b-b715-413d-8f68-9084865f2962" providerId="ADAL" clId="{651BA0CF-6CA2-4E34-A632-20A1A4DFFB9A}" dt="2024-05-29T13:22:02.259" v="25"/>
          <ac:spMkLst>
            <pc:docMk/>
            <pc:sldMk cId="3949599604" sldId="2881"/>
            <ac:spMk id="6" creationId="{04148D7E-B222-C96E-2799-E52B720F0A77}"/>
          </ac:spMkLst>
        </pc:spChg>
        <pc:spChg chg="mod">
          <ac:chgData name="Lilith Pokorra" userId="29887f1b-b715-413d-8f68-9084865f2962" providerId="ADAL" clId="{651BA0CF-6CA2-4E34-A632-20A1A4DFFB9A}" dt="2024-05-29T13:32:24.796" v="125"/>
          <ac:spMkLst>
            <pc:docMk/>
            <pc:sldMk cId="3949599604" sldId="2881"/>
            <ac:spMk id="8" creationId="{AE211297-EB31-9693-199A-BD485BE9C3D5}"/>
          </ac:spMkLst>
        </pc:spChg>
        <pc:spChg chg="mod">
          <ac:chgData name="Lilith Pokorra" userId="29887f1b-b715-413d-8f68-9084865f2962" providerId="ADAL" clId="{651BA0CF-6CA2-4E34-A632-20A1A4DFFB9A}" dt="2024-05-29T13:32:24.796" v="125"/>
          <ac:spMkLst>
            <pc:docMk/>
            <pc:sldMk cId="3949599604" sldId="2881"/>
            <ac:spMk id="9" creationId="{88C7AB41-4438-45DC-04CC-1BE6B90C69DD}"/>
          </ac:spMkLst>
        </pc:spChg>
        <pc:spChg chg="mod">
          <ac:chgData name="Lilith Pokorra" userId="29887f1b-b715-413d-8f68-9084865f2962" providerId="ADAL" clId="{651BA0CF-6CA2-4E34-A632-20A1A4DFFB9A}" dt="2024-05-29T13:25:01.320" v="78" actId="20577"/>
          <ac:spMkLst>
            <pc:docMk/>
            <pc:sldMk cId="3949599604" sldId="2881"/>
            <ac:spMk id="27" creationId="{8E97F67B-7C29-9A49-D8A7-6FB066A3C957}"/>
          </ac:spMkLst>
        </pc:spChg>
        <pc:spChg chg="mod">
          <ac:chgData name="Lilith Pokorra" userId="29887f1b-b715-413d-8f68-9084865f2962" providerId="ADAL" clId="{651BA0CF-6CA2-4E34-A632-20A1A4DFFB9A}" dt="2024-06-05T11:15:46.185" v="242" actId="20577"/>
          <ac:spMkLst>
            <pc:docMk/>
            <pc:sldMk cId="3949599604" sldId="2881"/>
            <ac:spMk id="28" creationId="{6D5C9800-676E-81FD-C34F-D8807AEBE132}"/>
          </ac:spMkLst>
        </pc:spChg>
        <pc:spChg chg="del">
          <ac:chgData name="Lilith Pokorra" userId="29887f1b-b715-413d-8f68-9084865f2962" providerId="ADAL" clId="{651BA0CF-6CA2-4E34-A632-20A1A4DFFB9A}" dt="2024-06-05T11:15:47.750" v="243" actId="478"/>
          <ac:spMkLst>
            <pc:docMk/>
            <pc:sldMk cId="3949599604" sldId="2881"/>
            <ac:spMk id="29" creationId="{41CCA157-6FB6-61E4-B55A-819917009FC0}"/>
          </ac:spMkLst>
        </pc:spChg>
        <pc:spChg chg="del">
          <ac:chgData name="Lilith Pokorra" userId="29887f1b-b715-413d-8f68-9084865f2962" providerId="ADAL" clId="{651BA0CF-6CA2-4E34-A632-20A1A4DFFB9A}" dt="2024-06-05T11:15:34.239" v="240" actId="478"/>
          <ac:spMkLst>
            <pc:docMk/>
            <pc:sldMk cId="3949599604" sldId="2881"/>
            <ac:spMk id="31" creationId="{B1A378A1-FD0E-C9E9-D808-8464759D8B86}"/>
          </ac:spMkLst>
        </pc:spChg>
        <pc:spChg chg="del">
          <ac:chgData name="Lilith Pokorra" userId="29887f1b-b715-413d-8f68-9084865f2962" providerId="ADAL" clId="{651BA0CF-6CA2-4E34-A632-20A1A4DFFB9A}" dt="2024-06-05T11:15:36.135" v="241" actId="478"/>
          <ac:spMkLst>
            <pc:docMk/>
            <pc:sldMk cId="3949599604" sldId="2881"/>
            <ac:spMk id="32" creationId="{FCDFB7DE-A5BB-D3D9-9275-76BFB582739C}"/>
          </ac:spMkLst>
        </pc:spChg>
        <pc:spChg chg="del">
          <ac:chgData name="Lilith Pokorra" userId="29887f1b-b715-413d-8f68-9084865f2962" providerId="ADAL" clId="{651BA0CF-6CA2-4E34-A632-20A1A4DFFB9A}" dt="2024-06-05T11:15:32.093" v="239" actId="478"/>
          <ac:spMkLst>
            <pc:docMk/>
            <pc:sldMk cId="3949599604" sldId="2881"/>
            <ac:spMk id="34" creationId="{A3DD01C6-7E99-D594-C58A-7ED2EE6416A7}"/>
          </ac:spMkLst>
        </pc:spChg>
        <pc:spChg chg="add del mod">
          <ac:chgData name="Lilith Pokorra" userId="29887f1b-b715-413d-8f68-9084865f2962" providerId="ADAL" clId="{651BA0CF-6CA2-4E34-A632-20A1A4DFFB9A}" dt="2024-06-05T12:26:53.488" v="887" actId="478"/>
          <ac:spMkLst>
            <pc:docMk/>
            <pc:sldMk cId="3949599604" sldId="2881"/>
            <ac:spMk id="55" creationId="{2FCBFA85-5F38-B3B3-2172-A6B6A96E1EFF}"/>
          </ac:spMkLst>
        </pc:spChg>
        <pc:grpChg chg="add mod">
          <ac:chgData name="Lilith Pokorra" userId="29887f1b-b715-413d-8f68-9084865f2962" providerId="ADAL" clId="{651BA0CF-6CA2-4E34-A632-20A1A4DFFB9A}" dt="2024-05-29T13:32:24.796" v="125"/>
          <ac:grpSpMkLst>
            <pc:docMk/>
            <pc:sldMk cId="3949599604" sldId="2881"/>
            <ac:grpSpMk id="3" creationId="{5FE2C29D-2288-1D47-5B7D-732D705D3888}"/>
          </ac:grpSpMkLst>
        </pc:grpChg>
        <pc:grpChg chg="del">
          <ac:chgData name="Lilith Pokorra" userId="29887f1b-b715-413d-8f68-9084865f2962" providerId="ADAL" clId="{651BA0CF-6CA2-4E34-A632-20A1A4DFFB9A}" dt="2024-05-29T13:22:02.100" v="24" actId="478"/>
          <ac:grpSpMkLst>
            <pc:docMk/>
            <pc:sldMk cId="3949599604" sldId="2881"/>
            <ac:grpSpMk id="3" creationId="{E31E8C12-31EC-62EB-F3B8-8A866BB76D2A}"/>
          </ac:grpSpMkLst>
        </pc:grpChg>
        <pc:grpChg chg="add del mod">
          <ac:chgData name="Lilith Pokorra" userId="29887f1b-b715-413d-8f68-9084865f2962" providerId="ADAL" clId="{651BA0CF-6CA2-4E34-A632-20A1A4DFFB9A}" dt="2024-05-29T13:32:24.506" v="124" actId="478"/>
          <ac:grpSpMkLst>
            <pc:docMk/>
            <pc:sldMk cId="3949599604" sldId="2881"/>
            <ac:grpSpMk id="4" creationId="{A038D5B2-D87B-63AE-5090-F8D52272A651}"/>
          </ac:grpSpMkLst>
        </pc:grpChg>
        <pc:grpChg chg="add del mod">
          <ac:chgData name="Lilith Pokorra" userId="29887f1b-b715-413d-8f68-9084865f2962" providerId="ADAL" clId="{651BA0CF-6CA2-4E34-A632-20A1A4DFFB9A}" dt="2024-06-05T11:23:26.816" v="321" actId="165"/>
          <ac:grpSpMkLst>
            <pc:docMk/>
            <pc:sldMk cId="3949599604" sldId="2881"/>
            <ac:grpSpMk id="33" creationId="{FC983D9D-DE6E-0E74-0680-22C948B8956E}"/>
          </ac:grpSpMkLst>
        </pc:grpChg>
        <pc:grpChg chg="add del mod">
          <ac:chgData name="Lilith Pokorra" userId="29887f1b-b715-413d-8f68-9084865f2962" providerId="ADAL" clId="{651BA0CF-6CA2-4E34-A632-20A1A4DFFB9A}" dt="2024-06-05T11:23:28.723" v="322" actId="165"/>
          <ac:grpSpMkLst>
            <pc:docMk/>
            <pc:sldMk cId="3949599604" sldId="2881"/>
            <ac:grpSpMk id="35" creationId="{6ADD10C5-2883-3530-F68B-8DA972BC77AE}"/>
          </ac:grpSpMkLst>
        </pc:grpChg>
        <pc:grpChg chg="add del mod">
          <ac:chgData name="Lilith Pokorra" userId="29887f1b-b715-413d-8f68-9084865f2962" providerId="ADAL" clId="{651BA0CF-6CA2-4E34-A632-20A1A4DFFB9A}" dt="2024-06-05T11:23:31.420" v="323" actId="165"/>
          <ac:grpSpMkLst>
            <pc:docMk/>
            <pc:sldMk cId="3949599604" sldId="2881"/>
            <ac:grpSpMk id="36" creationId="{AAC7F0F0-B213-268E-5940-86EF08372820}"/>
          </ac:grpSpMkLst>
        </pc:grpChg>
        <pc:grpChg chg="add mod">
          <ac:chgData name="Lilith Pokorra" userId="29887f1b-b715-413d-8f68-9084865f2962" providerId="ADAL" clId="{651BA0CF-6CA2-4E34-A632-20A1A4DFFB9A}" dt="2024-06-05T12:28:04.127" v="896" actId="571"/>
          <ac:grpSpMkLst>
            <pc:docMk/>
            <pc:sldMk cId="3949599604" sldId="2881"/>
            <ac:grpSpMk id="37" creationId="{A70AF50F-0A00-3E04-B1C7-AAA511FE5CBA}"/>
          </ac:grpSpMkLst>
        </pc:grpChg>
        <pc:grpChg chg="add mod">
          <ac:chgData name="Lilith Pokorra" userId="29887f1b-b715-413d-8f68-9084865f2962" providerId="ADAL" clId="{651BA0CF-6CA2-4E34-A632-20A1A4DFFB9A}" dt="2024-06-05T12:28:04.127" v="896" actId="571"/>
          <ac:grpSpMkLst>
            <pc:docMk/>
            <pc:sldMk cId="3949599604" sldId="2881"/>
            <ac:grpSpMk id="38" creationId="{2D5F5B80-A57E-57D0-36B4-901B72DDF536}"/>
          </ac:grpSpMkLst>
        </pc:grpChg>
        <pc:grpChg chg="add mod">
          <ac:chgData name="Lilith Pokorra" userId="29887f1b-b715-413d-8f68-9084865f2962" providerId="ADAL" clId="{651BA0CF-6CA2-4E34-A632-20A1A4DFFB9A}" dt="2024-06-05T12:28:04.127" v="896" actId="571"/>
          <ac:grpSpMkLst>
            <pc:docMk/>
            <pc:sldMk cId="3949599604" sldId="2881"/>
            <ac:grpSpMk id="39" creationId="{28C99E26-B06F-AF95-101B-46509DC5A8F0}"/>
          </ac:grpSpMkLst>
        </pc:grpChg>
        <pc:grpChg chg="add del mod">
          <ac:chgData name="Lilith Pokorra" userId="29887f1b-b715-413d-8f68-9084865f2962" providerId="ADAL" clId="{651BA0CF-6CA2-4E34-A632-20A1A4DFFB9A}" dt="2024-06-05T12:31:16.068" v="930" actId="478"/>
          <ac:grpSpMkLst>
            <pc:docMk/>
            <pc:sldMk cId="3949599604" sldId="2881"/>
            <ac:grpSpMk id="40" creationId="{F0AC8870-0F90-9674-5322-CEC45D633973}"/>
          </ac:grpSpMkLst>
        </pc:grpChg>
        <pc:grpChg chg="add mod">
          <ac:chgData name="Lilith Pokorra" userId="29887f1b-b715-413d-8f68-9084865f2962" providerId="ADAL" clId="{651BA0CF-6CA2-4E34-A632-20A1A4DFFB9A}" dt="2024-06-05T11:25:56.702" v="340"/>
          <ac:grpSpMkLst>
            <pc:docMk/>
            <pc:sldMk cId="3949599604" sldId="2881"/>
            <ac:grpSpMk id="41" creationId="{69481914-4C1E-4FB0-9F38-CFAB16A8AA1C}"/>
          </ac:grpSpMkLst>
        </pc:grpChg>
        <pc:grpChg chg="mod">
          <ac:chgData name="Lilith Pokorra" userId="29887f1b-b715-413d-8f68-9084865f2962" providerId="ADAL" clId="{651BA0CF-6CA2-4E34-A632-20A1A4DFFB9A}" dt="2024-06-05T11:25:56.702" v="340"/>
          <ac:grpSpMkLst>
            <pc:docMk/>
            <pc:sldMk cId="3949599604" sldId="2881"/>
            <ac:grpSpMk id="42" creationId="{3966A5E7-A60A-3825-67C3-235364412898}"/>
          </ac:grpSpMkLst>
        </pc:grpChg>
        <pc:grpChg chg="mod">
          <ac:chgData name="Lilith Pokorra" userId="29887f1b-b715-413d-8f68-9084865f2962" providerId="ADAL" clId="{651BA0CF-6CA2-4E34-A632-20A1A4DFFB9A}" dt="2024-06-05T11:25:56.702" v="340"/>
          <ac:grpSpMkLst>
            <pc:docMk/>
            <pc:sldMk cId="3949599604" sldId="2881"/>
            <ac:grpSpMk id="43" creationId="{918839C2-7317-7EE8-50AA-BD06E7D20DA0}"/>
          </ac:grpSpMkLst>
        </pc:grpChg>
        <pc:grpChg chg="mod">
          <ac:chgData name="Lilith Pokorra" userId="29887f1b-b715-413d-8f68-9084865f2962" providerId="ADAL" clId="{651BA0CF-6CA2-4E34-A632-20A1A4DFFB9A}" dt="2024-06-05T11:25:56.702" v="340"/>
          <ac:grpSpMkLst>
            <pc:docMk/>
            <pc:sldMk cId="3949599604" sldId="2881"/>
            <ac:grpSpMk id="44" creationId="{6751BCA5-0429-B7B4-DAED-B8F6C8FE3AF0}"/>
          </ac:grpSpMkLst>
        </pc:grpChg>
        <pc:grpChg chg="add mod">
          <ac:chgData name="Lilith Pokorra" userId="29887f1b-b715-413d-8f68-9084865f2962" providerId="ADAL" clId="{651BA0CF-6CA2-4E34-A632-20A1A4DFFB9A}" dt="2024-06-05T12:31:16.960" v="931"/>
          <ac:grpSpMkLst>
            <pc:docMk/>
            <pc:sldMk cId="3949599604" sldId="2881"/>
            <ac:grpSpMk id="58" creationId="{4758958E-5106-076C-5BD0-79069DDC4A5A}"/>
          </ac:grpSpMkLst>
        </pc:grpChg>
        <pc:grpChg chg="mod">
          <ac:chgData name="Lilith Pokorra" userId="29887f1b-b715-413d-8f68-9084865f2962" providerId="ADAL" clId="{651BA0CF-6CA2-4E34-A632-20A1A4DFFB9A}" dt="2024-06-05T12:31:16.960" v="931"/>
          <ac:grpSpMkLst>
            <pc:docMk/>
            <pc:sldMk cId="3949599604" sldId="2881"/>
            <ac:grpSpMk id="59" creationId="{4A229E5A-E0F2-8C44-5C48-4479490E5548}"/>
          </ac:grpSpMkLst>
        </pc:grpChg>
        <pc:grpChg chg="mod">
          <ac:chgData name="Lilith Pokorra" userId="29887f1b-b715-413d-8f68-9084865f2962" providerId="ADAL" clId="{651BA0CF-6CA2-4E34-A632-20A1A4DFFB9A}" dt="2024-06-05T12:31:16.960" v="931"/>
          <ac:grpSpMkLst>
            <pc:docMk/>
            <pc:sldMk cId="3949599604" sldId="2881"/>
            <ac:grpSpMk id="60" creationId="{7E9DAD21-B668-0292-7332-02000EE158C4}"/>
          </ac:grpSpMkLst>
        </pc:grpChg>
        <pc:grpChg chg="mod">
          <ac:chgData name="Lilith Pokorra" userId="29887f1b-b715-413d-8f68-9084865f2962" providerId="ADAL" clId="{651BA0CF-6CA2-4E34-A632-20A1A4DFFB9A}" dt="2024-06-05T12:31:16.960" v="931"/>
          <ac:grpSpMkLst>
            <pc:docMk/>
            <pc:sldMk cId="3949599604" sldId="2881"/>
            <ac:grpSpMk id="61" creationId="{B26D3282-4290-A23D-0A7B-3684F581A304}"/>
          </ac:grpSpMkLst>
        </pc:grpChg>
        <pc:picChg chg="add mod topLvl">
          <ac:chgData name="Lilith Pokorra" userId="29887f1b-b715-413d-8f68-9084865f2962" providerId="ADAL" clId="{651BA0CF-6CA2-4E34-A632-20A1A4DFFB9A}" dt="2024-06-05T12:30:26.453" v="921" actId="12789"/>
          <ac:picMkLst>
            <pc:docMk/>
            <pc:sldMk cId="3949599604" sldId="2881"/>
            <ac:picMk id="4" creationId="{C8E57D07-D13C-0468-BEAF-6519D610032F}"/>
          </ac:picMkLst>
        </pc:picChg>
        <pc:picChg chg="add mod topLvl">
          <ac:chgData name="Lilith Pokorra" userId="29887f1b-b715-413d-8f68-9084865f2962" providerId="ADAL" clId="{651BA0CF-6CA2-4E34-A632-20A1A4DFFB9A}" dt="2024-06-05T12:30:26.453" v="921" actId="12789"/>
          <ac:picMkLst>
            <pc:docMk/>
            <pc:sldMk cId="3949599604" sldId="2881"/>
            <ac:picMk id="6" creationId="{B3DF788C-0CA1-03EE-2A99-016D1A89D95F}"/>
          </ac:picMkLst>
        </pc:picChg>
        <pc:picChg chg="add del mod">
          <ac:chgData name="Lilith Pokorra" userId="29887f1b-b715-413d-8f68-9084865f2962" providerId="ADAL" clId="{651BA0CF-6CA2-4E34-A632-20A1A4DFFB9A}" dt="2024-05-29T13:32:24.506" v="124" actId="478"/>
          <ac:picMkLst>
            <pc:docMk/>
            <pc:sldMk cId="3949599604" sldId="2881"/>
            <ac:picMk id="7" creationId="{D405F7FC-7067-09B8-CAB6-2A83356C55B3}"/>
          </ac:picMkLst>
        </pc:picChg>
        <pc:picChg chg="add mod">
          <ac:chgData name="Lilith Pokorra" userId="29887f1b-b715-413d-8f68-9084865f2962" providerId="ADAL" clId="{651BA0CF-6CA2-4E34-A632-20A1A4DFFB9A}" dt="2024-05-29T13:32:24.796" v="125"/>
          <ac:picMkLst>
            <pc:docMk/>
            <pc:sldMk cId="3949599604" sldId="2881"/>
            <ac:picMk id="10" creationId="{14274EB6-5AA3-EC7C-80AF-A3952A653B39}"/>
          </ac:picMkLst>
        </pc:picChg>
        <pc:picChg chg="add mod topLvl">
          <ac:chgData name="Lilith Pokorra" userId="29887f1b-b715-413d-8f68-9084865f2962" providerId="ADAL" clId="{651BA0CF-6CA2-4E34-A632-20A1A4DFFB9A}" dt="2024-06-05T12:30:26.453" v="921" actId="12789"/>
          <ac:picMkLst>
            <pc:docMk/>
            <pc:sldMk cId="3949599604" sldId="2881"/>
            <ac:picMk id="11" creationId="{A01D31F6-FD06-4F6D-4D89-8396763FCA73}"/>
          </ac:picMkLst>
        </pc:picChg>
        <pc:picChg chg="add mod topLvl">
          <ac:chgData name="Lilith Pokorra" userId="29887f1b-b715-413d-8f68-9084865f2962" providerId="ADAL" clId="{651BA0CF-6CA2-4E34-A632-20A1A4DFFB9A}" dt="2024-06-05T12:30:38.887" v="923" actId="12789"/>
          <ac:picMkLst>
            <pc:docMk/>
            <pc:sldMk cId="3949599604" sldId="2881"/>
            <ac:picMk id="13" creationId="{3684545D-444C-A1E0-B445-A3D73AA9A893}"/>
          </ac:picMkLst>
        </pc:picChg>
        <pc:picChg chg="add mod topLvl">
          <ac:chgData name="Lilith Pokorra" userId="29887f1b-b715-413d-8f68-9084865f2962" providerId="ADAL" clId="{651BA0CF-6CA2-4E34-A632-20A1A4DFFB9A}" dt="2024-06-05T12:30:38.887" v="923" actId="12789"/>
          <ac:picMkLst>
            <pc:docMk/>
            <pc:sldMk cId="3949599604" sldId="2881"/>
            <ac:picMk id="15" creationId="{F5677902-40D3-5479-1654-E5F39E779D34}"/>
          </ac:picMkLst>
        </pc:picChg>
        <pc:picChg chg="add mod topLvl">
          <ac:chgData name="Lilith Pokorra" userId="29887f1b-b715-413d-8f68-9084865f2962" providerId="ADAL" clId="{651BA0CF-6CA2-4E34-A632-20A1A4DFFB9A}" dt="2024-06-05T12:30:38.887" v="923" actId="12789"/>
          <ac:picMkLst>
            <pc:docMk/>
            <pc:sldMk cId="3949599604" sldId="2881"/>
            <ac:picMk id="17" creationId="{96F653E4-438F-D092-C26A-4C75E734D4A5}"/>
          </ac:picMkLst>
        </pc:picChg>
        <pc:picChg chg="add mod topLvl">
          <ac:chgData name="Lilith Pokorra" userId="29887f1b-b715-413d-8f68-9084865f2962" providerId="ADAL" clId="{651BA0CF-6CA2-4E34-A632-20A1A4DFFB9A}" dt="2024-06-05T12:30:38.887" v="923" actId="12789"/>
          <ac:picMkLst>
            <pc:docMk/>
            <pc:sldMk cId="3949599604" sldId="2881"/>
            <ac:picMk id="19" creationId="{A60987F0-D241-8A19-4B6B-874CF5800673}"/>
          </ac:picMkLst>
        </pc:picChg>
        <pc:picChg chg="add mod topLvl">
          <ac:chgData name="Lilith Pokorra" userId="29887f1b-b715-413d-8f68-9084865f2962" providerId="ADAL" clId="{651BA0CF-6CA2-4E34-A632-20A1A4DFFB9A}" dt="2024-06-05T12:31:00.506" v="927" actId="1076"/>
          <ac:picMkLst>
            <pc:docMk/>
            <pc:sldMk cId="3949599604" sldId="2881"/>
            <ac:picMk id="21" creationId="{56DEC12A-D8EF-2A90-7446-E7D298ABDDCC}"/>
          </ac:picMkLst>
        </pc:picChg>
        <pc:picChg chg="add mod topLvl">
          <ac:chgData name="Lilith Pokorra" userId="29887f1b-b715-413d-8f68-9084865f2962" providerId="ADAL" clId="{651BA0CF-6CA2-4E34-A632-20A1A4DFFB9A}" dt="2024-06-05T12:30:51.627" v="926" actId="1076"/>
          <ac:picMkLst>
            <pc:docMk/>
            <pc:sldMk cId="3949599604" sldId="2881"/>
            <ac:picMk id="23" creationId="{A708C8FC-2F6D-9EA1-2DB5-77171F19C720}"/>
          </ac:picMkLst>
        </pc:picChg>
        <pc:picChg chg="del">
          <ac:chgData name="Lilith Pokorra" userId="29887f1b-b715-413d-8f68-9084865f2962" providerId="ADAL" clId="{651BA0CF-6CA2-4E34-A632-20A1A4DFFB9A}" dt="2024-06-05T11:15:48.962" v="245" actId="478"/>
          <ac:picMkLst>
            <pc:docMk/>
            <pc:sldMk cId="3949599604" sldId="2881"/>
            <ac:picMk id="24" creationId="{1F9791AC-D452-9356-98AF-67EF7184F36F}"/>
          </ac:picMkLst>
        </pc:picChg>
        <pc:picChg chg="add mod">
          <ac:chgData name="Lilith Pokorra" userId="29887f1b-b715-413d-8f68-9084865f2962" providerId="ADAL" clId="{651BA0CF-6CA2-4E34-A632-20A1A4DFFB9A}" dt="2024-06-05T12:30:51.627" v="926" actId="1076"/>
          <ac:picMkLst>
            <pc:docMk/>
            <pc:sldMk cId="3949599604" sldId="2881"/>
            <ac:picMk id="26" creationId="{C7654688-610F-A8EA-DF7D-4B995A6A9E05}"/>
          </ac:picMkLst>
        </pc:picChg>
        <pc:picChg chg="del">
          <ac:chgData name="Lilith Pokorra" userId="29887f1b-b715-413d-8f68-9084865f2962" providerId="ADAL" clId="{651BA0CF-6CA2-4E34-A632-20A1A4DFFB9A}" dt="2024-06-05T11:15:48.397" v="244" actId="478"/>
          <ac:picMkLst>
            <pc:docMk/>
            <pc:sldMk cId="3949599604" sldId="2881"/>
            <ac:picMk id="30" creationId="{CEBE282D-16BC-E883-F770-11E2D0F0C2CD}"/>
          </ac:picMkLst>
        </pc:picChg>
        <pc:picChg chg="mod">
          <ac:chgData name="Lilith Pokorra" userId="29887f1b-b715-413d-8f68-9084865f2962" providerId="ADAL" clId="{651BA0CF-6CA2-4E34-A632-20A1A4DFFB9A}" dt="2024-06-05T11:25:56.702" v="340"/>
          <ac:picMkLst>
            <pc:docMk/>
            <pc:sldMk cId="3949599604" sldId="2881"/>
            <ac:picMk id="45" creationId="{67AFFF09-9493-FE2F-A653-53EF856A859B}"/>
          </ac:picMkLst>
        </pc:picChg>
        <pc:picChg chg="mod">
          <ac:chgData name="Lilith Pokorra" userId="29887f1b-b715-413d-8f68-9084865f2962" providerId="ADAL" clId="{651BA0CF-6CA2-4E34-A632-20A1A4DFFB9A}" dt="2024-06-05T11:25:56.702" v="340"/>
          <ac:picMkLst>
            <pc:docMk/>
            <pc:sldMk cId="3949599604" sldId="2881"/>
            <ac:picMk id="46" creationId="{2BE16344-8546-D4A4-2A32-110AF7A2E792}"/>
          </ac:picMkLst>
        </pc:picChg>
        <pc:picChg chg="mod">
          <ac:chgData name="Lilith Pokorra" userId="29887f1b-b715-413d-8f68-9084865f2962" providerId="ADAL" clId="{651BA0CF-6CA2-4E34-A632-20A1A4DFFB9A}" dt="2024-06-05T11:25:56.702" v="340"/>
          <ac:picMkLst>
            <pc:docMk/>
            <pc:sldMk cId="3949599604" sldId="2881"/>
            <ac:picMk id="47" creationId="{F4369E72-A6EA-0F55-FA4A-0731EB6E3D92}"/>
          </ac:picMkLst>
        </pc:picChg>
        <pc:picChg chg="mod">
          <ac:chgData name="Lilith Pokorra" userId="29887f1b-b715-413d-8f68-9084865f2962" providerId="ADAL" clId="{651BA0CF-6CA2-4E34-A632-20A1A4DFFB9A}" dt="2024-06-05T11:25:56.702" v="340"/>
          <ac:picMkLst>
            <pc:docMk/>
            <pc:sldMk cId="3949599604" sldId="2881"/>
            <ac:picMk id="48" creationId="{0CC2072E-8907-8B81-4521-794AE61C5DF6}"/>
          </ac:picMkLst>
        </pc:picChg>
        <pc:picChg chg="mod">
          <ac:chgData name="Lilith Pokorra" userId="29887f1b-b715-413d-8f68-9084865f2962" providerId="ADAL" clId="{651BA0CF-6CA2-4E34-A632-20A1A4DFFB9A}" dt="2024-06-05T11:25:56.702" v="340"/>
          <ac:picMkLst>
            <pc:docMk/>
            <pc:sldMk cId="3949599604" sldId="2881"/>
            <ac:picMk id="49" creationId="{589B4CC6-EB4B-4DDC-EAE4-A8B1DCF74943}"/>
          </ac:picMkLst>
        </pc:picChg>
        <pc:picChg chg="mod">
          <ac:chgData name="Lilith Pokorra" userId="29887f1b-b715-413d-8f68-9084865f2962" providerId="ADAL" clId="{651BA0CF-6CA2-4E34-A632-20A1A4DFFB9A}" dt="2024-06-05T11:25:56.702" v="340"/>
          <ac:picMkLst>
            <pc:docMk/>
            <pc:sldMk cId="3949599604" sldId="2881"/>
            <ac:picMk id="50" creationId="{134676A0-C87A-07B4-E5C1-828AD3A7CA16}"/>
          </ac:picMkLst>
        </pc:picChg>
        <pc:picChg chg="mod">
          <ac:chgData name="Lilith Pokorra" userId="29887f1b-b715-413d-8f68-9084865f2962" providerId="ADAL" clId="{651BA0CF-6CA2-4E34-A632-20A1A4DFFB9A}" dt="2024-06-05T11:25:56.702" v="340"/>
          <ac:picMkLst>
            <pc:docMk/>
            <pc:sldMk cId="3949599604" sldId="2881"/>
            <ac:picMk id="51" creationId="{81958A28-1791-FC10-9045-621050A2CFFC}"/>
          </ac:picMkLst>
        </pc:picChg>
        <pc:picChg chg="mod">
          <ac:chgData name="Lilith Pokorra" userId="29887f1b-b715-413d-8f68-9084865f2962" providerId="ADAL" clId="{651BA0CF-6CA2-4E34-A632-20A1A4DFFB9A}" dt="2024-06-05T11:25:56.702" v="340"/>
          <ac:picMkLst>
            <pc:docMk/>
            <pc:sldMk cId="3949599604" sldId="2881"/>
            <ac:picMk id="52" creationId="{844F2866-9EAA-F95A-25BF-6126F8DD38A0}"/>
          </ac:picMkLst>
        </pc:picChg>
        <pc:picChg chg="mod">
          <ac:chgData name="Lilith Pokorra" userId="29887f1b-b715-413d-8f68-9084865f2962" providerId="ADAL" clId="{651BA0CF-6CA2-4E34-A632-20A1A4DFFB9A}" dt="2024-06-05T11:25:56.702" v="340"/>
          <ac:picMkLst>
            <pc:docMk/>
            <pc:sldMk cId="3949599604" sldId="2881"/>
            <ac:picMk id="53" creationId="{1A6A9660-EE9A-5D48-51A5-01C8B82901C0}"/>
          </ac:picMkLst>
        </pc:picChg>
        <pc:picChg chg="mod">
          <ac:chgData name="Lilith Pokorra" userId="29887f1b-b715-413d-8f68-9084865f2962" providerId="ADAL" clId="{651BA0CF-6CA2-4E34-A632-20A1A4DFFB9A}" dt="2024-06-05T11:25:56.702" v="340"/>
          <ac:picMkLst>
            <pc:docMk/>
            <pc:sldMk cId="3949599604" sldId="2881"/>
            <ac:picMk id="54" creationId="{CA0C715C-B920-9F69-2CA5-64C8FA26488E}"/>
          </ac:picMkLst>
        </pc:picChg>
        <pc:picChg chg="add del mod">
          <ac:chgData name="Lilith Pokorra" userId="29887f1b-b715-413d-8f68-9084865f2962" providerId="ADAL" clId="{651BA0CF-6CA2-4E34-A632-20A1A4DFFB9A}" dt="2024-06-05T12:28:00.779" v="895" actId="478"/>
          <ac:picMkLst>
            <pc:docMk/>
            <pc:sldMk cId="3949599604" sldId="2881"/>
            <ac:picMk id="56" creationId="{2F5EE334-18F4-2952-1560-89B5A3C4E7E2}"/>
          </ac:picMkLst>
        </pc:picChg>
        <pc:picChg chg="add del mod">
          <ac:chgData name="Lilith Pokorra" userId="29887f1b-b715-413d-8f68-9084865f2962" providerId="ADAL" clId="{651BA0CF-6CA2-4E34-A632-20A1A4DFFB9A}" dt="2024-06-05T12:28:15.981" v="899" actId="478"/>
          <ac:picMkLst>
            <pc:docMk/>
            <pc:sldMk cId="3949599604" sldId="2881"/>
            <ac:picMk id="57" creationId="{C91431AF-C19B-5D6B-203C-2FAE52F7F0F1}"/>
          </ac:picMkLst>
        </pc:picChg>
        <pc:picChg chg="mod">
          <ac:chgData name="Lilith Pokorra" userId="29887f1b-b715-413d-8f68-9084865f2962" providerId="ADAL" clId="{651BA0CF-6CA2-4E34-A632-20A1A4DFFB9A}" dt="2024-06-05T12:31:16.960" v="931"/>
          <ac:picMkLst>
            <pc:docMk/>
            <pc:sldMk cId="3949599604" sldId="2881"/>
            <ac:picMk id="62" creationId="{84F6D4E8-1351-A386-EF9C-1E4F831F869D}"/>
          </ac:picMkLst>
        </pc:picChg>
        <pc:picChg chg="mod">
          <ac:chgData name="Lilith Pokorra" userId="29887f1b-b715-413d-8f68-9084865f2962" providerId="ADAL" clId="{651BA0CF-6CA2-4E34-A632-20A1A4DFFB9A}" dt="2024-06-05T12:31:16.960" v="931"/>
          <ac:picMkLst>
            <pc:docMk/>
            <pc:sldMk cId="3949599604" sldId="2881"/>
            <ac:picMk id="63" creationId="{B8A90E85-BB0E-F706-A42B-5C134CA7876F}"/>
          </ac:picMkLst>
        </pc:picChg>
        <pc:picChg chg="mod">
          <ac:chgData name="Lilith Pokorra" userId="29887f1b-b715-413d-8f68-9084865f2962" providerId="ADAL" clId="{651BA0CF-6CA2-4E34-A632-20A1A4DFFB9A}" dt="2024-06-05T12:31:16.960" v="931"/>
          <ac:picMkLst>
            <pc:docMk/>
            <pc:sldMk cId="3949599604" sldId="2881"/>
            <ac:picMk id="64" creationId="{DB1B8A39-5DDC-76E9-20E4-80482AF987A7}"/>
          </ac:picMkLst>
        </pc:picChg>
        <pc:picChg chg="mod">
          <ac:chgData name="Lilith Pokorra" userId="29887f1b-b715-413d-8f68-9084865f2962" providerId="ADAL" clId="{651BA0CF-6CA2-4E34-A632-20A1A4DFFB9A}" dt="2024-06-05T12:31:16.960" v="931"/>
          <ac:picMkLst>
            <pc:docMk/>
            <pc:sldMk cId="3949599604" sldId="2881"/>
            <ac:picMk id="65" creationId="{BE3F5450-D487-8EAC-77CA-D1678C31201C}"/>
          </ac:picMkLst>
        </pc:picChg>
        <pc:picChg chg="mod">
          <ac:chgData name="Lilith Pokorra" userId="29887f1b-b715-413d-8f68-9084865f2962" providerId="ADAL" clId="{651BA0CF-6CA2-4E34-A632-20A1A4DFFB9A}" dt="2024-06-05T12:31:16.960" v="931"/>
          <ac:picMkLst>
            <pc:docMk/>
            <pc:sldMk cId="3949599604" sldId="2881"/>
            <ac:picMk id="66" creationId="{6644FDA8-0208-4052-827C-E5D937BC82FE}"/>
          </ac:picMkLst>
        </pc:picChg>
        <pc:picChg chg="mod">
          <ac:chgData name="Lilith Pokorra" userId="29887f1b-b715-413d-8f68-9084865f2962" providerId="ADAL" clId="{651BA0CF-6CA2-4E34-A632-20A1A4DFFB9A}" dt="2024-06-05T12:31:16.960" v="931"/>
          <ac:picMkLst>
            <pc:docMk/>
            <pc:sldMk cId="3949599604" sldId="2881"/>
            <ac:picMk id="67" creationId="{7BBEF4EC-F9F8-1264-6568-CB471CF669B5}"/>
          </ac:picMkLst>
        </pc:picChg>
        <pc:picChg chg="mod">
          <ac:chgData name="Lilith Pokorra" userId="29887f1b-b715-413d-8f68-9084865f2962" providerId="ADAL" clId="{651BA0CF-6CA2-4E34-A632-20A1A4DFFB9A}" dt="2024-06-05T12:31:16.960" v="931"/>
          <ac:picMkLst>
            <pc:docMk/>
            <pc:sldMk cId="3949599604" sldId="2881"/>
            <ac:picMk id="68" creationId="{BFDFD422-80B6-7867-B021-91C13E22B1DD}"/>
          </ac:picMkLst>
        </pc:picChg>
        <pc:picChg chg="mod">
          <ac:chgData name="Lilith Pokorra" userId="29887f1b-b715-413d-8f68-9084865f2962" providerId="ADAL" clId="{651BA0CF-6CA2-4E34-A632-20A1A4DFFB9A}" dt="2024-06-05T12:31:16.960" v="931"/>
          <ac:picMkLst>
            <pc:docMk/>
            <pc:sldMk cId="3949599604" sldId="2881"/>
            <ac:picMk id="69" creationId="{67E06F50-ECF5-78C4-D894-52FEC9D1D883}"/>
          </ac:picMkLst>
        </pc:picChg>
        <pc:picChg chg="mod">
          <ac:chgData name="Lilith Pokorra" userId="29887f1b-b715-413d-8f68-9084865f2962" providerId="ADAL" clId="{651BA0CF-6CA2-4E34-A632-20A1A4DFFB9A}" dt="2024-06-05T12:31:16.960" v="931"/>
          <ac:picMkLst>
            <pc:docMk/>
            <pc:sldMk cId="3949599604" sldId="2881"/>
            <ac:picMk id="70" creationId="{7931BB81-8630-C5DF-C893-8B1472D267D3}"/>
          </ac:picMkLst>
        </pc:picChg>
        <pc:picChg chg="mod">
          <ac:chgData name="Lilith Pokorra" userId="29887f1b-b715-413d-8f68-9084865f2962" providerId="ADAL" clId="{651BA0CF-6CA2-4E34-A632-20A1A4DFFB9A}" dt="2024-06-05T12:31:16.960" v="931"/>
          <ac:picMkLst>
            <pc:docMk/>
            <pc:sldMk cId="3949599604" sldId="2881"/>
            <ac:picMk id="71" creationId="{A9D2B300-663D-320F-0CC0-FA3C288AC016}"/>
          </ac:picMkLst>
        </pc:picChg>
      </pc:sldChg>
      <pc:sldChg chg="modSp mod">
        <pc:chgData name="Lilith Pokorra" userId="29887f1b-b715-413d-8f68-9084865f2962" providerId="ADAL" clId="{651BA0CF-6CA2-4E34-A632-20A1A4DFFB9A}" dt="2024-05-29T13:20:15.461" v="1" actId="20577"/>
        <pc:sldMkLst>
          <pc:docMk/>
          <pc:sldMk cId="2222561500" sldId="2887"/>
        </pc:sldMkLst>
        <pc:spChg chg="mod">
          <ac:chgData name="Lilith Pokorra" userId="29887f1b-b715-413d-8f68-9084865f2962" providerId="ADAL" clId="{651BA0CF-6CA2-4E34-A632-20A1A4DFFB9A}" dt="2024-05-29T13:20:15.461" v="1" actId="20577"/>
          <ac:spMkLst>
            <pc:docMk/>
            <pc:sldMk cId="2222561500" sldId="2887"/>
            <ac:spMk id="12" creationId="{A81C4177-703F-144C-A9EC-AA7C612215E3}"/>
          </ac:spMkLst>
        </pc:spChg>
      </pc:sldChg>
      <pc:sldChg chg="addSp delSp modSp mod">
        <pc:chgData name="Lilith Pokorra" userId="29887f1b-b715-413d-8f68-9084865f2962" providerId="ADAL" clId="{651BA0CF-6CA2-4E34-A632-20A1A4DFFB9A}" dt="2024-06-05T12:31:49.428" v="936"/>
        <pc:sldMkLst>
          <pc:docMk/>
          <pc:sldMk cId="182280248" sldId="2890"/>
        </pc:sldMkLst>
        <pc:spChg chg="del ord">
          <ac:chgData name="Lilith Pokorra" userId="29887f1b-b715-413d-8f68-9084865f2962" providerId="ADAL" clId="{651BA0CF-6CA2-4E34-A632-20A1A4DFFB9A}" dt="2024-06-05T12:26:58.058" v="888" actId="478"/>
          <ac:spMkLst>
            <pc:docMk/>
            <pc:sldMk cId="182280248" sldId="2890"/>
            <ac:spMk id="4" creationId="{A70CE2D3-EA30-0F0F-C318-915BAE834B93}"/>
          </ac:spMkLst>
        </pc:spChg>
        <pc:spChg chg="mod">
          <ac:chgData name="Lilith Pokorra" userId="29887f1b-b715-413d-8f68-9084865f2962" providerId="ADAL" clId="{651BA0CF-6CA2-4E34-A632-20A1A4DFFB9A}" dt="2024-05-29T13:22:21.039" v="34"/>
          <ac:spMkLst>
            <pc:docMk/>
            <pc:sldMk cId="182280248" sldId="2890"/>
            <ac:spMk id="8" creationId="{ED89D96E-9A9B-D864-331B-449C797D3A5C}"/>
          </ac:spMkLst>
        </pc:spChg>
        <pc:spChg chg="mod">
          <ac:chgData name="Lilith Pokorra" userId="29887f1b-b715-413d-8f68-9084865f2962" providerId="ADAL" clId="{651BA0CF-6CA2-4E34-A632-20A1A4DFFB9A}" dt="2024-05-29T13:32:39.535" v="133"/>
          <ac:spMkLst>
            <pc:docMk/>
            <pc:sldMk cId="182280248" sldId="2890"/>
            <ac:spMk id="10" creationId="{F155FE50-2785-FA06-52B2-BEAC63F1A7D6}"/>
          </ac:spMkLst>
        </pc:spChg>
        <pc:spChg chg="mod">
          <ac:chgData name="Lilith Pokorra" userId="29887f1b-b715-413d-8f68-9084865f2962" providerId="ADAL" clId="{651BA0CF-6CA2-4E34-A632-20A1A4DFFB9A}" dt="2024-05-29T13:22:21.039" v="34"/>
          <ac:spMkLst>
            <pc:docMk/>
            <pc:sldMk cId="182280248" sldId="2890"/>
            <ac:spMk id="11" creationId="{BCB4D917-D4C1-6FAA-3EBF-DD217B042589}"/>
          </ac:spMkLst>
        </pc:spChg>
        <pc:spChg chg="mod">
          <ac:chgData name="Lilith Pokorra" userId="29887f1b-b715-413d-8f68-9084865f2962" providerId="ADAL" clId="{651BA0CF-6CA2-4E34-A632-20A1A4DFFB9A}" dt="2024-05-29T13:32:39.535" v="133"/>
          <ac:spMkLst>
            <pc:docMk/>
            <pc:sldMk cId="182280248" sldId="2890"/>
            <ac:spMk id="12" creationId="{A7841002-C10D-2486-E5A2-AA45F9A9B199}"/>
          </ac:spMkLst>
        </pc:spChg>
        <pc:spChg chg="del">
          <ac:chgData name="Lilith Pokorra" userId="29887f1b-b715-413d-8f68-9084865f2962" providerId="ADAL" clId="{651BA0CF-6CA2-4E34-A632-20A1A4DFFB9A}" dt="2024-05-29T13:22:20.813" v="33" actId="478"/>
          <ac:spMkLst>
            <pc:docMk/>
            <pc:sldMk cId="182280248" sldId="2890"/>
            <ac:spMk id="14" creationId="{6D7ECC0D-1989-BC46-F59C-2665E92A1C99}"/>
          </ac:spMkLst>
        </pc:spChg>
        <pc:spChg chg="mod">
          <ac:chgData name="Lilith Pokorra" userId="29887f1b-b715-413d-8f68-9084865f2962" providerId="ADAL" clId="{651BA0CF-6CA2-4E34-A632-20A1A4DFFB9A}" dt="2024-05-29T13:26:36.768" v="97" actId="20577"/>
          <ac:spMkLst>
            <pc:docMk/>
            <pc:sldMk cId="182280248" sldId="2890"/>
            <ac:spMk id="15" creationId="{7B8D9029-9357-8207-B3FE-C7DE579316A9}"/>
          </ac:spMkLst>
        </pc:spChg>
        <pc:spChg chg="mod">
          <ac:chgData name="Lilith Pokorra" userId="29887f1b-b715-413d-8f68-9084865f2962" providerId="ADAL" clId="{651BA0CF-6CA2-4E34-A632-20A1A4DFFB9A}" dt="2024-06-05T11:25:43.841" v="339" actId="20577"/>
          <ac:spMkLst>
            <pc:docMk/>
            <pc:sldMk cId="182280248" sldId="2890"/>
            <ac:spMk id="16" creationId="{6070F6C6-8CEA-2510-B0B9-F52B25115188}"/>
          </ac:spMkLst>
        </pc:spChg>
        <pc:grpChg chg="add mod">
          <ac:chgData name="Lilith Pokorra" userId="29887f1b-b715-413d-8f68-9084865f2962" providerId="ADAL" clId="{651BA0CF-6CA2-4E34-A632-20A1A4DFFB9A}" dt="2024-05-29T13:32:39.535" v="133"/>
          <ac:grpSpMkLst>
            <pc:docMk/>
            <pc:sldMk cId="182280248" sldId="2890"/>
            <ac:grpSpMk id="3" creationId="{9908E138-213E-20BF-BF21-0206D3AB5ADD}"/>
          </ac:grpSpMkLst>
        </pc:grpChg>
        <pc:grpChg chg="del">
          <ac:chgData name="Lilith Pokorra" userId="29887f1b-b715-413d-8f68-9084865f2962" providerId="ADAL" clId="{651BA0CF-6CA2-4E34-A632-20A1A4DFFB9A}" dt="2024-05-29T13:22:25.683" v="35" actId="478"/>
          <ac:grpSpMkLst>
            <pc:docMk/>
            <pc:sldMk cId="182280248" sldId="2890"/>
            <ac:grpSpMk id="3" creationId="{E31E8C12-31EC-62EB-F3B8-8A866BB76D2A}"/>
          </ac:grpSpMkLst>
        </pc:grpChg>
        <pc:grpChg chg="add del mod">
          <ac:chgData name="Lilith Pokorra" userId="29887f1b-b715-413d-8f68-9084865f2962" providerId="ADAL" clId="{651BA0CF-6CA2-4E34-A632-20A1A4DFFB9A}" dt="2024-06-05T12:31:49.100" v="935" actId="478"/>
          <ac:grpSpMkLst>
            <pc:docMk/>
            <pc:sldMk cId="182280248" sldId="2890"/>
            <ac:grpSpMk id="6" creationId="{04FF1B09-20E4-621D-D5D0-31FD0CA689DE}"/>
          </ac:grpSpMkLst>
        </pc:grpChg>
        <pc:grpChg chg="add del mod">
          <ac:chgData name="Lilith Pokorra" userId="29887f1b-b715-413d-8f68-9084865f2962" providerId="ADAL" clId="{651BA0CF-6CA2-4E34-A632-20A1A4DFFB9A}" dt="2024-05-29T13:32:39.352" v="132" actId="478"/>
          <ac:grpSpMkLst>
            <pc:docMk/>
            <pc:sldMk cId="182280248" sldId="2890"/>
            <ac:grpSpMk id="6" creationId="{28A6FA20-F5FB-B6FD-46C1-6372C522CE7A}"/>
          </ac:grpSpMkLst>
        </pc:grpChg>
        <pc:grpChg chg="mod">
          <ac:chgData name="Lilith Pokorra" userId="29887f1b-b715-413d-8f68-9084865f2962" providerId="ADAL" clId="{651BA0CF-6CA2-4E34-A632-20A1A4DFFB9A}" dt="2024-06-05T11:26:24.175" v="343"/>
          <ac:grpSpMkLst>
            <pc:docMk/>
            <pc:sldMk cId="182280248" sldId="2890"/>
            <ac:grpSpMk id="8" creationId="{67B4A047-84EB-7E69-B40D-D1E81136D36D}"/>
          </ac:grpSpMkLst>
        </pc:grpChg>
        <pc:grpChg chg="mod">
          <ac:chgData name="Lilith Pokorra" userId="29887f1b-b715-413d-8f68-9084865f2962" providerId="ADAL" clId="{651BA0CF-6CA2-4E34-A632-20A1A4DFFB9A}" dt="2024-06-05T11:26:24.175" v="343"/>
          <ac:grpSpMkLst>
            <pc:docMk/>
            <pc:sldMk cId="182280248" sldId="2890"/>
            <ac:grpSpMk id="11" creationId="{E7AAC1AF-BB08-C66D-624F-34E17C5A1D34}"/>
          </ac:grpSpMkLst>
        </pc:grpChg>
        <pc:grpChg chg="del">
          <ac:chgData name="Lilith Pokorra" userId="29887f1b-b715-413d-8f68-9084865f2962" providerId="ADAL" clId="{651BA0CF-6CA2-4E34-A632-20A1A4DFFB9A}" dt="2024-05-29T13:22:20.813" v="33" actId="478"/>
          <ac:grpSpMkLst>
            <pc:docMk/>
            <pc:sldMk cId="182280248" sldId="2890"/>
            <ac:grpSpMk id="12" creationId="{C27FF517-2722-C0E1-D664-5464C872C65F}"/>
          </ac:grpSpMkLst>
        </pc:grpChg>
        <pc:grpChg chg="mod">
          <ac:chgData name="Lilith Pokorra" userId="29887f1b-b715-413d-8f68-9084865f2962" providerId="ADAL" clId="{651BA0CF-6CA2-4E34-A632-20A1A4DFFB9A}" dt="2024-06-05T11:26:24.175" v="343"/>
          <ac:grpSpMkLst>
            <pc:docMk/>
            <pc:sldMk cId="182280248" sldId="2890"/>
            <ac:grpSpMk id="17" creationId="{91BDCC61-8A31-4787-1352-843F67A1F80C}"/>
          </ac:grpSpMkLst>
        </pc:grpChg>
        <pc:grpChg chg="add mod">
          <ac:chgData name="Lilith Pokorra" userId="29887f1b-b715-413d-8f68-9084865f2962" providerId="ADAL" clId="{651BA0CF-6CA2-4E34-A632-20A1A4DFFB9A}" dt="2024-06-05T12:31:49.428" v="936"/>
          <ac:grpSpMkLst>
            <pc:docMk/>
            <pc:sldMk cId="182280248" sldId="2890"/>
            <ac:grpSpMk id="28" creationId="{DF5B4632-94C7-D709-7345-0DF20D5274AA}"/>
          </ac:grpSpMkLst>
        </pc:grpChg>
        <pc:grpChg chg="mod">
          <ac:chgData name="Lilith Pokorra" userId="29887f1b-b715-413d-8f68-9084865f2962" providerId="ADAL" clId="{651BA0CF-6CA2-4E34-A632-20A1A4DFFB9A}" dt="2024-06-05T12:31:49.428" v="936"/>
          <ac:grpSpMkLst>
            <pc:docMk/>
            <pc:sldMk cId="182280248" sldId="2890"/>
            <ac:grpSpMk id="29" creationId="{F8244009-588B-25D0-004C-31BF66E7B223}"/>
          </ac:grpSpMkLst>
        </pc:grpChg>
        <pc:grpChg chg="mod">
          <ac:chgData name="Lilith Pokorra" userId="29887f1b-b715-413d-8f68-9084865f2962" providerId="ADAL" clId="{651BA0CF-6CA2-4E34-A632-20A1A4DFFB9A}" dt="2024-06-05T12:31:49.428" v="936"/>
          <ac:grpSpMkLst>
            <pc:docMk/>
            <pc:sldMk cId="182280248" sldId="2890"/>
            <ac:grpSpMk id="30" creationId="{69C46D0E-2E58-2F26-0E0E-0CA7DFE831B5}"/>
          </ac:grpSpMkLst>
        </pc:grpChg>
        <pc:grpChg chg="mod">
          <ac:chgData name="Lilith Pokorra" userId="29887f1b-b715-413d-8f68-9084865f2962" providerId="ADAL" clId="{651BA0CF-6CA2-4E34-A632-20A1A4DFFB9A}" dt="2024-06-05T12:31:49.428" v="936"/>
          <ac:grpSpMkLst>
            <pc:docMk/>
            <pc:sldMk cId="182280248" sldId="2890"/>
            <ac:grpSpMk id="31" creationId="{D4A7EE3D-65D5-22EE-5F6E-01142181D17F}"/>
          </ac:grpSpMkLst>
        </pc:grpChg>
        <pc:picChg chg="del">
          <ac:chgData name="Lilith Pokorra" userId="29887f1b-b715-413d-8f68-9084865f2962" providerId="ADAL" clId="{651BA0CF-6CA2-4E34-A632-20A1A4DFFB9A}" dt="2024-06-05T11:26:23.031" v="342" actId="478"/>
          <ac:picMkLst>
            <pc:docMk/>
            <pc:sldMk cId="182280248" sldId="2890"/>
            <ac:picMk id="5" creationId="{925618E0-3077-3C7B-A430-E5C694E50DB1}"/>
          </ac:picMkLst>
        </pc:picChg>
        <pc:picChg chg="del">
          <ac:chgData name="Lilith Pokorra" userId="29887f1b-b715-413d-8f68-9084865f2962" providerId="ADAL" clId="{651BA0CF-6CA2-4E34-A632-20A1A4DFFB9A}" dt="2024-06-05T11:26:23.031" v="342" actId="478"/>
          <ac:picMkLst>
            <pc:docMk/>
            <pc:sldMk cId="182280248" sldId="2890"/>
            <ac:picMk id="7" creationId="{60AFAB87-FF4E-C051-FD97-0349668232BA}"/>
          </ac:picMkLst>
        </pc:picChg>
        <pc:picChg chg="del">
          <ac:chgData name="Lilith Pokorra" userId="29887f1b-b715-413d-8f68-9084865f2962" providerId="ADAL" clId="{651BA0CF-6CA2-4E34-A632-20A1A4DFFB9A}" dt="2024-06-05T11:26:23.031" v="342" actId="478"/>
          <ac:picMkLst>
            <pc:docMk/>
            <pc:sldMk cId="182280248" sldId="2890"/>
            <ac:picMk id="9" creationId="{0A17B396-B786-FB4B-79BA-2534E740AD97}"/>
          </ac:picMkLst>
        </pc:picChg>
        <pc:picChg chg="del">
          <ac:chgData name="Lilith Pokorra" userId="29887f1b-b715-413d-8f68-9084865f2962" providerId="ADAL" clId="{651BA0CF-6CA2-4E34-A632-20A1A4DFFB9A}" dt="2024-06-05T11:26:23.031" v="342" actId="478"/>
          <ac:picMkLst>
            <pc:docMk/>
            <pc:sldMk cId="182280248" sldId="2890"/>
            <ac:picMk id="13" creationId="{0152AA7B-7C72-6944-A8EA-F3A66E10225D}"/>
          </ac:picMkLst>
        </pc:picChg>
        <pc:picChg chg="add mod">
          <ac:chgData name="Lilith Pokorra" userId="29887f1b-b715-413d-8f68-9084865f2962" providerId="ADAL" clId="{651BA0CF-6CA2-4E34-A632-20A1A4DFFB9A}" dt="2024-05-29T13:32:39.535" v="133"/>
          <ac:picMkLst>
            <pc:docMk/>
            <pc:sldMk cId="182280248" sldId="2890"/>
            <ac:picMk id="14" creationId="{D691C151-8A82-64C9-E4A9-DD8DDAF0C560}"/>
          </ac:picMkLst>
        </pc:picChg>
        <pc:picChg chg="add del mod">
          <ac:chgData name="Lilith Pokorra" userId="29887f1b-b715-413d-8f68-9084865f2962" providerId="ADAL" clId="{651BA0CF-6CA2-4E34-A632-20A1A4DFFB9A}" dt="2024-05-29T13:32:39.352" v="132" actId="478"/>
          <ac:picMkLst>
            <pc:docMk/>
            <pc:sldMk cId="182280248" sldId="2890"/>
            <ac:picMk id="17" creationId="{B069C26E-FA4E-F7BC-8205-C9A6B47D0D19}"/>
          </ac:picMkLst>
        </pc:picChg>
        <pc:picChg chg="mod">
          <ac:chgData name="Lilith Pokorra" userId="29887f1b-b715-413d-8f68-9084865f2962" providerId="ADAL" clId="{651BA0CF-6CA2-4E34-A632-20A1A4DFFB9A}" dt="2024-06-05T11:26:24.175" v="343"/>
          <ac:picMkLst>
            <pc:docMk/>
            <pc:sldMk cId="182280248" sldId="2890"/>
            <ac:picMk id="18" creationId="{A444028B-4822-8A45-E95C-C68B2144FB82}"/>
          </ac:picMkLst>
        </pc:picChg>
        <pc:picChg chg="mod">
          <ac:chgData name="Lilith Pokorra" userId="29887f1b-b715-413d-8f68-9084865f2962" providerId="ADAL" clId="{651BA0CF-6CA2-4E34-A632-20A1A4DFFB9A}" dt="2024-06-05T11:26:24.175" v="343"/>
          <ac:picMkLst>
            <pc:docMk/>
            <pc:sldMk cId="182280248" sldId="2890"/>
            <ac:picMk id="19" creationId="{060BE5F9-70DE-66DD-9180-19B9D8A37154}"/>
          </ac:picMkLst>
        </pc:picChg>
        <pc:picChg chg="mod">
          <ac:chgData name="Lilith Pokorra" userId="29887f1b-b715-413d-8f68-9084865f2962" providerId="ADAL" clId="{651BA0CF-6CA2-4E34-A632-20A1A4DFFB9A}" dt="2024-06-05T11:26:24.175" v="343"/>
          <ac:picMkLst>
            <pc:docMk/>
            <pc:sldMk cId="182280248" sldId="2890"/>
            <ac:picMk id="20" creationId="{7CCED132-D619-0973-86CE-133C79D8E029}"/>
          </ac:picMkLst>
        </pc:picChg>
        <pc:picChg chg="mod">
          <ac:chgData name="Lilith Pokorra" userId="29887f1b-b715-413d-8f68-9084865f2962" providerId="ADAL" clId="{651BA0CF-6CA2-4E34-A632-20A1A4DFFB9A}" dt="2024-06-05T11:26:24.175" v="343"/>
          <ac:picMkLst>
            <pc:docMk/>
            <pc:sldMk cId="182280248" sldId="2890"/>
            <ac:picMk id="21" creationId="{29565385-8876-5F79-0CD7-B496578167BB}"/>
          </ac:picMkLst>
        </pc:picChg>
        <pc:picChg chg="mod">
          <ac:chgData name="Lilith Pokorra" userId="29887f1b-b715-413d-8f68-9084865f2962" providerId="ADAL" clId="{651BA0CF-6CA2-4E34-A632-20A1A4DFFB9A}" dt="2024-06-05T11:26:24.175" v="343"/>
          <ac:picMkLst>
            <pc:docMk/>
            <pc:sldMk cId="182280248" sldId="2890"/>
            <ac:picMk id="22" creationId="{17F2B98D-3AAA-88C0-0CB2-962045802689}"/>
          </ac:picMkLst>
        </pc:picChg>
        <pc:picChg chg="mod">
          <ac:chgData name="Lilith Pokorra" userId="29887f1b-b715-413d-8f68-9084865f2962" providerId="ADAL" clId="{651BA0CF-6CA2-4E34-A632-20A1A4DFFB9A}" dt="2024-06-05T11:26:24.175" v="343"/>
          <ac:picMkLst>
            <pc:docMk/>
            <pc:sldMk cId="182280248" sldId="2890"/>
            <ac:picMk id="23" creationId="{8C09746A-0E76-2D7E-1EA9-61121885F204}"/>
          </ac:picMkLst>
        </pc:picChg>
        <pc:picChg chg="mod">
          <ac:chgData name="Lilith Pokorra" userId="29887f1b-b715-413d-8f68-9084865f2962" providerId="ADAL" clId="{651BA0CF-6CA2-4E34-A632-20A1A4DFFB9A}" dt="2024-06-05T11:26:24.175" v="343"/>
          <ac:picMkLst>
            <pc:docMk/>
            <pc:sldMk cId="182280248" sldId="2890"/>
            <ac:picMk id="24" creationId="{42269DCD-01ED-E9E9-649B-C0A591B93832}"/>
          </ac:picMkLst>
        </pc:picChg>
        <pc:picChg chg="mod">
          <ac:chgData name="Lilith Pokorra" userId="29887f1b-b715-413d-8f68-9084865f2962" providerId="ADAL" clId="{651BA0CF-6CA2-4E34-A632-20A1A4DFFB9A}" dt="2024-06-05T11:26:24.175" v="343"/>
          <ac:picMkLst>
            <pc:docMk/>
            <pc:sldMk cId="182280248" sldId="2890"/>
            <ac:picMk id="25" creationId="{1BA76FAB-35B9-7900-9086-7199FFF5E25A}"/>
          </ac:picMkLst>
        </pc:picChg>
        <pc:picChg chg="mod">
          <ac:chgData name="Lilith Pokorra" userId="29887f1b-b715-413d-8f68-9084865f2962" providerId="ADAL" clId="{651BA0CF-6CA2-4E34-A632-20A1A4DFFB9A}" dt="2024-06-05T11:26:24.175" v="343"/>
          <ac:picMkLst>
            <pc:docMk/>
            <pc:sldMk cId="182280248" sldId="2890"/>
            <ac:picMk id="26" creationId="{755C993D-18F4-86AF-91BA-E5F86C638CBA}"/>
          </ac:picMkLst>
        </pc:picChg>
        <pc:picChg chg="mod">
          <ac:chgData name="Lilith Pokorra" userId="29887f1b-b715-413d-8f68-9084865f2962" providerId="ADAL" clId="{651BA0CF-6CA2-4E34-A632-20A1A4DFFB9A}" dt="2024-06-05T11:26:24.175" v="343"/>
          <ac:picMkLst>
            <pc:docMk/>
            <pc:sldMk cId="182280248" sldId="2890"/>
            <ac:picMk id="27" creationId="{1D5E89C5-146A-D259-DE04-1D76D11D74D1}"/>
          </ac:picMkLst>
        </pc:picChg>
        <pc:picChg chg="mod">
          <ac:chgData name="Lilith Pokorra" userId="29887f1b-b715-413d-8f68-9084865f2962" providerId="ADAL" clId="{651BA0CF-6CA2-4E34-A632-20A1A4DFFB9A}" dt="2024-06-05T12:31:49.428" v="936"/>
          <ac:picMkLst>
            <pc:docMk/>
            <pc:sldMk cId="182280248" sldId="2890"/>
            <ac:picMk id="32" creationId="{90CB47DA-466F-2A73-9918-9184ED95FBC9}"/>
          </ac:picMkLst>
        </pc:picChg>
        <pc:picChg chg="mod">
          <ac:chgData name="Lilith Pokorra" userId="29887f1b-b715-413d-8f68-9084865f2962" providerId="ADAL" clId="{651BA0CF-6CA2-4E34-A632-20A1A4DFFB9A}" dt="2024-06-05T12:31:49.428" v="936"/>
          <ac:picMkLst>
            <pc:docMk/>
            <pc:sldMk cId="182280248" sldId="2890"/>
            <ac:picMk id="33" creationId="{417822BC-164F-D56A-5BA0-D4D78B70E822}"/>
          </ac:picMkLst>
        </pc:picChg>
        <pc:picChg chg="mod">
          <ac:chgData name="Lilith Pokorra" userId="29887f1b-b715-413d-8f68-9084865f2962" providerId="ADAL" clId="{651BA0CF-6CA2-4E34-A632-20A1A4DFFB9A}" dt="2024-06-05T12:31:49.428" v="936"/>
          <ac:picMkLst>
            <pc:docMk/>
            <pc:sldMk cId="182280248" sldId="2890"/>
            <ac:picMk id="34" creationId="{57976538-8D97-0255-AE6D-A023EE18AC95}"/>
          </ac:picMkLst>
        </pc:picChg>
        <pc:picChg chg="mod">
          <ac:chgData name="Lilith Pokorra" userId="29887f1b-b715-413d-8f68-9084865f2962" providerId="ADAL" clId="{651BA0CF-6CA2-4E34-A632-20A1A4DFFB9A}" dt="2024-06-05T12:31:49.428" v="936"/>
          <ac:picMkLst>
            <pc:docMk/>
            <pc:sldMk cId="182280248" sldId="2890"/>
            <ac:picMk id="35" creationId="{2D3C03A3-237A-4E44-0751-4B5552ECA3B7}"/>
          </ac:picMkLst>
        </pc:picChg>
        <pc:picChg chg="mod">
          <ac:chgData name="Lilith Pokorra" userId="29887f1b-b715-413d-8f68-9084865f2962" providerId="ADAL" clId="{651BA0CF-6CA2-4E34-A632-20A1A4DFFB9A}" dt="2024-06-05T12:31:49.428" v="936"/>
          <ac:picMkLst>
            <pc:docMk/>
            <pc:sldMk cId="182280248" sldId="2890"/>
            <ac:picMk id="36" creationId="{6FEBAD19-2709-B6BD-2ED5-C7C0CC524F85}"/>
          </ac:picMkLst>
        </pc:picChg>
        <pc:picChg chg="mod">
          <ac:chgData name="Lilith Pokorra" userId="29887f1b-b715-413d-8f68-9084865f2962" providerId="ADAL" clId="{651BA0CF-6CA2-4E34-A632-20A1A4DFFB9A}" dt="2024-06-05T12:31:49.428" v="936"/>
          <ac:picMkLst>
            <pc:docMk/>
            <pc:sldMk cId="182280248" sldId="2890"/>
            <ac:picMk id="37" creationId="{3EE722EE-4633-3598-BBAC-609F29223CF6}"/>
          </ac:picMkLst>
        </pc:picChg>
        <pc:picChg chg="mod">
          <ac:chgData name="Lilith Pokorra" userId="29887f1b-b715-413d-8f68-9084865f2962" providerId="ADAL" clId="{651BA0CF-6CA2-4E34-A632-20A1A4DFFB9A}" dt="2024-06-05T12:31:49.428" v="936"/>
          <ac:picMkLst>
            <pc:docMk/>
            <pc:sldMk cId="182280248" sldId="2890"/>
            <ac:picMk id="38" creationId="{3F054A32-DBBC-7D9C-8C1F-8616945486AD}"/>
          </ac:picMkLst>
        </pc:picChg>
        <pc:picChg chg="mod">
          <ac:chgData name="Lilith Pokorra" userId="29887f1b-b715-413d-8f68-9084865f2962" providerId="ADAL" clId="{651BA0CF-6CA2-4E34-A632-20A1A4DFFB9A}" dt="2024-06-05T12:31:49.428" v="936"/>
          <ac:picMkLst>
            <pc:docMk/>
            <pc:sldMk cId="182280248" sldId="2890"/>
            <ac:picMk id="39" creationId="{9E1E2ABB-70FC-4FA8-FCF5-52AC23FB3107}"/>
          </ac:picMkLst>
        </pc:picChg>
        <pc:picChg chg="mod">
          <ac:chgData name="Lilith Pokorra" userId="29887f1b-b715-413d-8f68-9084865f2962" providerId="ADAL" clId="{651BA0CF-6CA2-4E34-A632-20A1A4DFFB9A}" dt="2024-06-05T12:31:49.428" v="936"/>
          <ac:picMkLst>
            <pc:docMk/>
            <pc:sldMk cId="182280248" sldId="2890"/>
            <ac:picMk id="40" creationId="{3AAFCC74-3FD8-CB66-41CA-373ACFB87A2E}"/>
          </ac:picMkLst>
        </pc:picChg>
        <pc:picChg chg="mod">
          <ac:chgData name="Lilith Pokorra" userId="29887f1b-b715-413d-8f68-9084865f2962" providerId="ADAL" clId="{651BA0CF-6CA2-4E34-A632-20A1A4DFFB9A}" dt="2024-06-05T12:31:49.428" v="936"/>
          <ac:picMkLst>
            <pc:docMk/>
            <pc:sldMk cId="182280248" sldId="2890"/>
            <ac:picMk id="41" creationId="{6579F542-6B1C-05BB-EDC9-C7D4C979B50F}"/>
          </ac:picMkLst>
        </pc:picChg>
      </pc:sldChg>
      <pc:sldChg chg="addSp delSp modSp mod">
        <pc:chgData name="Lilith Pokorra" userId="29887f1b-b715-413d-8f68-9084865f2962" providerId="ADAL" clId="{651BA0CF-6CA2-4E34-A632-20A1A4DFFB9A}" dt="2024-05-29T14:00:47.718" v="169" actId="14826"/>
        <pc:sldMkLst>
          <pc:docMk/>
          <pc:sldMk cId="1007738096" sldId="2891"/>
        </pc:sldMkLst>
        <pc:spChg chg="mod">
          <ac:chgData name="Lilith Pokorra" userId="29887f1b-b715-413d-8f68-9084865f2962" providerId="ADAL" clId="{651BA0CF-6CA2-4E34-A632-20A1A4DFFB9A}" dt="2024-05-29T13:22:29.436" v="37"/>
          <ac:spMkLst>
            <pc:docMk/>
            <pc:sldMk cId="1007738096" sldId="2891"/>
            <ac:spMk id="6" creationId="{F793C4D6-BBD6-B6E8-BE0B-73051836C3EE}"/>
          </ac:spMkLst>
        </pc:spChg>
        <pc:spChg chg="mod">
          <ac:chgData name="Lilith Pokorra" userId="29887f1b-b715-413d-8f68-9084865f2962" providerId="ADAL" clId="{651BA0CF-6CA2-4E34-A632-20A1A4DFFB9A}" dt="2024-05-29T13:26:39.486" v="98" actId="20577"/>
          <ac:spMkLst>
            <pc:docMk/>
            <pc:sldMk cId="1007738096" sldId="2891"/>
            <ac:spMk id="8" creationId="{392D003D-12E1-B651-A877-15556DAB1CAA}"/>
          </ac:spMkLst>
        </pc:spChg>
        <pc:spChg chg="mod">
          <ac:chgData name="Lilith Pokorra" userId="29887f1b-b715-413d-8f68-9084865f2962" providerId="ADAL" clId="{651BA0CF-6CA2-4E34-A632-20A1A4DFFB9A}" dt="2024-05-29T13:26:44.028" v="101" actId="20577"/>
          <ac:spMkLst>
            <pc:docMk/>
            <pc:sldMk cId="1007738096" sldId="2891"/>
            <ac:spMk id="9" creationId="{2A65381E-919D-438B-5105-0E6BC95EADCC}"/>
          </ac:spMkLst>
        </pc:spChg>
        <pc:spChg chg="mod">
          <ac:chgData name="Lilith Pokorra" userId="29887f1b-b715-413d-8f68-9084865f2962" providerId="ADAL" clId="{651BA0CF-6CA2-4E34-A632-20A1A4DFFB9A}" dt="2024-05-29T13:32:43.685" v="135"/>
          <ac:spMkLst>
            <pc:docMk/>
            <pc:sldMk cId="1007738096" sldId="2891"/>
            <ac:spMk id="10" creationId="{8F1C7A05-B6B6-D9F3-886F-F93F3BDFB8B0}"/>
          </ac:spMkLst>
        </pc:spChg>
        <pc:spChg chg="ord">
          <ac:chgData name="Lilith Pokorra" userId="29887f1b-b715-413d-8f68-9084865f2962" providerId="ADAL" clId="{651BA0CF-6CA2-4E34-A632-20A1A4DFFB9A}" dt="2024-05-29T14:00:24.046" v="164" actId="166"/>
          <ac:spMkLst>
            <pc:docMk/>
            <pc:sldMk cId="1007738096" sldId="2891"/>
            <ac:spMk id="11" creationId="{DB148712-C4D8-F5B3-4CA0-1E694BA05AE7}"/>
          </ac:spMkLst>
        </pc:spChg>
        <pc:spChg chg="mod">
          <ac:chgData name="Lilith Pokorra" userId="29887f1b-b715-413d-8f68-9084865f2962" providerId="ADAL" clId="{651BA0CF-6CA2-4E34-A632-20A1A4DFFB9A}" dt="2024-05-29T13:32:43.685" v="135"/>
          <ac:spMkLst>
            <pc:docMk/>
            <pc:sldMk cId="1007738096" sldId="2891"/>
            <ac:spMk id="12" creationId="{E8AED6FC-6DF9-63C6-09C9-0588EBB45AA3}"/>
          </ac:spMkLst>
        </pc:spChg>
        <pc:spChg chg="mod">
          <ac:chgData name="Lilith Pokorra" userId="29887f1b-b715-413d-8f68-9084865f2962" providerId="ADAL" clId="{651BA0CF-6CA2-4E34-A632-20A1A4DFFB9A}" dt="2024-05-29T13:22:29.436" v="37"/>
          <ac:spMkLst>
            <pc:docMk/>
            <pc:sldMk cId="1007738096" sldId="2891"/>
            <ac:spMk id="13" creationId="{F5A5402D-93ED-57E2-9223-3C9DFCE1F4F1}"/>
          </ac:spMkLst>
        </pc:spChg>
        <pc:grpChg chg="add mod">
          <ac:chgData name="Lilith Pokorra" userId="29887f1b-b715-413d-8f68-9084865f2962" providerId="ADAL" clId="{651BA0CF-6CA2-4E34-A632-20A1A4DFFB9A}" dt="2024-05-29T13:32:43.685" v="135"/>
          <ac:grpSpMkLst>
            <pc:docMk/>
            <pc:sldMk cId="1007738096" sldId="2891"/>
            <ac:grpSpMk id="3" creationId="{9241C764-AEE2-F578-F328-A87B005B9B39}"/>
          </ac:grpSpMkLst>
        </pc:grpChg>
        <pc:grpChg chg="del">
          <ac:chgData name="Lilith Pokorra" userId="29887f1b-b715-413d-8f68-9084865f2962" providerId="ADAL" clId="{651BA0CF-6CA2-4E34-A632-20A1A4DFFB9A}" dt="2024-05-29T13:22:29.160" v="36" actId="478"/>
          <ac:grpSpMkLst>
            <pc:docMk/>
            <pc:sldMk cId="1007738096" sldId="2891"/>
            <ac:grpSpMk id="3" creationId="{E31E8C12-31EC-62EB-F3B8-8A866BB76D2A}"/>
          </ac:grpSpMkLst>
        </pc:grpChg>
        <pc:grpChg chg="add del mod">
          <ac:chgData name="Lilith Pokorra" userId="29887f1b-b715-413d-8f68-9084865f2962" providerId="ADAL" clId="{651BA0CF-6CA2-4E34-A632-20A1A4DFFB9A}" dt="2024-05-29T13:32:43.519" v="134" actId="478"/>
          <ac:grpSpMkLst>
            <pc:docMk/>
            <pc:sldMk cId="1007738096" sldId="2891"/>
            <ac:grpSpMk id="4" creationId="{59CD0DAF-481F-A3D8-4622-D6B8EA6FA81B}"/>
          </ac:grpSpMkLst>
        </pc:grpChg>
        <pc:picChg chg="del">
          <ac:chgData name="Lilith Pokorra" userId="29887f1b-b715-413d-8f68-9084865f2962" providerId="ADAL" clId="{651BA0CF-6CA2-4E34-A632-20A1A4DFFB9A}" dt="2024-05-29T14:00:20.547" v="162" actId="478"/>
          <ac:picMkLst>
            <pc:docMk/>
            <pc:sldMk cId="1007738096" sldId="2891"/>
            <ac:picMk id="5" creationId="{ACFC3932-23E9-3FF9-D7A4-0E1F65A0CB1A}"/>
          </ac:picMkLst>
        </pc:picChg>
        <pc:picChg chg="del">
          <ac:chgData name="Lilith Pokorra" userId="29887f1b-b715-413d-8f68-9084865f2962" providerId="ADAL" clId="{651BA0CF-6CA2-4E34-A632-20A1A4DFFB9A}" dt="2024-05-29T14:00:20.547" v="162" actId="478"/>
          <ac:picMkLst>
            <pc:docMk/>
            <pc:sldMk cId="1007738096" sldId="2891"/>
            <ac:picMk id="7" creationId="{1892159A-0F83-A2CC-094C-5C3621C0EEF2}"/>
          </ac:picMkLst>
        </pc:picChg>
        <pc:picChg chg="add mod">
          <ac:chgData name="Lilith Pokorra" userId="29887f1b-b715-413d-8f68-9084865f2962" providerId="ADAL" clId="{651BA0CF-6CA2-4E34-A632-20A1A4DFFB9A}" dt="2024-05-29T13:32:43.685" v="135"/>
          <ac:picMkLst>
            <pc:docMk/>
            <pc:sldMk cId="1007738096" sldId="2891"/>
            <ac:picMk id="14" creationId="{5481802C-38BC-2DFE-FD54-FD15464EBC3C}"/>
          </ac:picMkLst>
        </pc:picChg>
        <pc:picChg chg="add del mod">
          <ac:chgData name="Lilith Pokorra" userId="29887f1b-b715-413d-8f68-9084865f2962" providerId="ADAL" clId="{651BA0CF-6CA2-4E34-A632-20A1A4DFFB9A}" dt="2024-05-29T13:32:43.519" v="134" actId="478"/>
          <ac:picMkLst>
            <pc:docMk/>
            <pc:sldMk cId="1007738096" sldId="2891"/>
            <ac:picMk id="15" creationId="{4D404FB5-0221-CF39-15DE-11B70DC99701}"/>
          </ac:picMkLst>
        </pc:picChg>
        <pc:picChg chg="add mod">
          <ac:chgData name="Lilith Pokorra" userId="29887f1b-b715-413d-8f68-9084865f2962" providerId="ADAL" clId="{651BA0CF-6CA2-4E34-A632-20A1A4DFFB9A}" dt="2024-05-29T14:00:32.034" v="165" actId="14826"/>
          <ac:picMkLst>
            <pc:docMk/>
            <pc:sldMk cId="1007738096" sldId="2891"/>
            <ac:picMk id="16" creationId="{C72B2442-8D69-CF38-6699-B625F11258E8}"/>
          </ac:picMkLst>
        </pc:picChg>
        <pc:picChg chg="add mod">
          <ac:chgData name="Lilith Pokorra" userId="29887f1b-b715-413d-8f68-9084865f2962" providerId="ADAL" clId="{651BA0CF-6CA2-4E34-A632-20A1A4DFFB9A}" dt="2024-05-29T14:00:37.549" v="166" actId="14826"/>
          <ac:picMkLst>
            <pc:docMk/>
            <pc:sldMk cId="1007738096" sldId="2891"/>
            <ac:picMk id="17" creationId="{A9CA72EB-7D8C-4ADD-0122-BC0112F40773}"/>
          </ac:picMkLst>
        </pc:picChg>
        <pc:picChg chg="add mod">
          <ac:chgData name="Lilith Pokorra" userId="29887f1b-b715-413d-8f68-9084865f2962" providerId="ADAL" clId="{651BA0CF-6CA2-4E34-A632-20A1A4DFFB9A}" dt="2024-05-29T14:00:47.718" v="169" actId="14826"/>
          <ac:picMkLst>
            <pc:docMk/>
            <pc:sldMk cId="1007738096" sldId="2891"/>
            <ac:picMk id="18" creationId="{B48248FC-047F-5955-09FC-ECD41481EA9A}"/>
          </ac:picMkLst>
        </pc:picChg>
      </pc:sldChg>
      <pc:sldChg chg="addSp delSp modSp mod">
        <pc:chgData name="Lilith Pokorra" userId="29887f1b-b715-413d-8f68-9084865f2962" providerId="ADAL" clId="{651BA0CF-6CA2-4E34-A632-20A1A4DFFB9A}" dt="2024-06-05T12:26:23.538" v="883"/>
        <pc:sldMkLst>
          <pc:docMk/>
          <pc:sldMk cId="600346065" sldId="2892"/>
        </pc:sldMkLst>
        <pc:spChg chg="mod">
          <ac:chgData name="Lilith Pokorra" userId="29887f1b-b715-413d-8f68-9084865f2962" providerId="ADAL" clId="{651BA0CF-6CA2-4E34-A632-20A1A4DFFB9A}" dt="2024-05-29T13:22:32.818" v="39"/>
          <ac:spMkLst>
            <pc:docMk/>
            <pc:sldMk cId="600346065" sldId="2892"/>
            <ac:spMk id="8" creationId="{F96835C2-91A2-2A5A-3C76-5AD054C3D86F}"/>
          </ac:spMkLst>
        </pc:spChg>
        <pc:spChg chg="mod">
          <ac:chgData name="Lilith Pokorra" userId="29887f1b-b715-413d-8f68-9084865f2962" providerId="ADAL" clId="{651BA0CF-6CA2-4E34-A632-20A1A4DFFB9A}" dt="2024-05-29T13:32:47.022" v="137"/>
          <ac:spMkLst>
            <pc:docMk/>
            <pc:sldMk cId="600346065" sldId="2892"/>
            <ac:spMk id="10" creationId="{F744F6EB-0CB5-C73F-9257-3CBA9ED76F97}"/>
          </ac:spMkLst>
        </pc:spChg>
        <pc:spChg chg="mod">
          <ac:chgData name="Lilith Pokorra" userId="29887f1b-b715-413d-8f68-9084865f2962" providerId="ADAL" clId="{651BA0CF-6CA2-4E34-A632-20A1A4DFFB9A}" dt="2024-05-29T13:26:52.876" v="103" actId="20577"/>
          <ac:spMkLst>
            <pc:docMk/>
            <pc:sldMk cId="600346065" sldId="2892"/>
            <ac:spMk id="11" creationId="{A3C1D7DB-3FF8-43DF-1725-6399DD16C255}"/>
          </ac:spMkLst>
        </pc:spChg>
        <pc:spChg chg="mod">
          <ac:chgData name="Lilith Pokorra" userId="29887f1b-b715-413d-8f68-9084865f2962" providerId="ADAL" clId="{651BA0CF-6CA2-4E34-A632-20A1A4DFFB9A}" dt="2024-05-29T13:32:47.022" v="137"/>
          <ac:spMkLst>
            <pc:docMk/>
            <pc:sldMk cId="600346065" sldId="2892"/>
            <ac:spMk id="12" creationId="{7117EB74-C98D-F9DE-1AD7-A81E349D7DC2}"/>
          </ac:spMkLst>
        </pc:spChg>
        <pc:spChg chg="mod">
          <ac:chgData name="Lilith Pokorra" userId="29887f1b-b715-413d-8f68-9084865f2962" providerId="ADAL" clId="{651BA0CF-6CA2-4E34-A632-20A1A4DFFB9A}" dt="2024-06-05T12:26:23.538" v="883"/>
          <ac:spMkLst>
            <pc:docMk/>
            <pc:sldMk cId="600346065" sldId="2892"/>
            <ac:spMk id="13" creationId="{00A19EA9-BAD5-F747-0C14-90E7B34BA479}"/>
          </ac:spMkLst>
        </pc:spChg>
        <pc:spChg chg="mod">
          <ac:chgData name="Lilith Pokorra" userId="29887f1b-b715-413d-8f68-9084865f2962" providerId="ADAL" clId="{651BA0CF-6CA2-4E34-A632-20A1A4DFFB9A}" dt="2024-05-29T13:22:32.818" v="39"/>
          <ac:spMkLst>
            <pc:docMk/>
            <pc:sldMk cId="600346065" sldId="2892"/>
            <ac:spMk id="15" creationId="{E5A57631-0016-590F-0EA5-9E98F16F815F}"/>
          </ac:spMkLst>
        </pc:spChg>
        <pc:grpChg chg="add mod">
          <ac:chgData name="Lilith Pokorra" userId="29887f1b-b715-413d-8f68-9084865f2962" providerId="ADAL" clId="{651BA0CF-6CA2-4E34-A632-20A1A4DFFB9A}" dt="2024-05-29T13:32:47.022" v="137"/>
          <ac:grpSpMkLst>
            <pc:docMk/>
            <pc:sldMk cId="600346065" sldId="2892"/>
            <ac:grpSpMk id="3" creationId="{088970C9-9CC4-0EB1-925B-99FB3C489E99}"/>
          </ac:grpSpMkLst>
        </pc:grpChg>
        <pc:grpChg chg="del">
          <ac:chgData name="Lilith Pokorra" userId="29887f1b-b715-413d-8f68-9084865f2962" providerId="ADAL" clId="{651BA0CF-6CA2-4E34-A632-20A1A4DFFB9A}" dt="2024-05-29T13:22:32.568" v="38" actId="478"/>
          <ac:grpSpMkLst>
            <pc:docMk/>
            <pc:sldMk cId="600346065" sldId="2892"/>
            <ac:grpSpMk id="3" creationId="{E31E8C12-31EC-62EB-F3B8-8A866BB76D2A}"/>
          </ac:grpSpMkLst>
        </pc:grpChg>
        <pc:grpChg chg="add del mod">
          <ac:chgData name="Lilith Pokorra" userId="29887f1b-b715-413d-8f68-9084865f2962" providerId="ADAL" clId="{651BA0CF-6CA2-4E34-A632-20A1A4DFFB9A}" dt="2024-05-29T13:32:46.801" v="136" actId="478"/>
          <ac:grpSpMkLst>
            <pc:docMk/>
            <pc:sldMk cId="600346065" sldId="2892"/>
            <ac:grpSpMk id="6" creationId="{AFDD068E-7EEE-A5ED-72A5-FEDBBD6B04B8}"/>
          </ac:grpSpMkLst>
        </pc:grpChg>
        <pc:picChg chg="mod">
          <ac:chgData name="Lilith Pokorra" userId="29887f1b-b715-413d-8f68-9084865f2962" providerId="ADAL" clId="{651BA0CF-6CA2-4E34-A632-20A1A4DFFB9A}" dt="2024-05-29T13:58:26.496" v="159" actId="14826"/>
          <ac:picMkLst>
            <pc:docMk/>
            <pc:sldMk cId="600346065" sldId="2892"/>
            <ac:picMk id="5" creationId="{F518C6BA-85FE-12DE-6F30-7B3AE4C6DCC3}"/>
          </ac:picMkLst>
        </pc:picChg>
        <pc:picChg chg="mod">
          <ac:chgData name="Lilith Pokorra" userId="29887f1b-b715-413d-8f68-9084865f2962" providerId="ADAL" clId="{651BA0CF-6CA2-4E34-A632-20A1A4DFFB9A}" dt="2024-05-29T13:58:17.527" v="157" actId="14826"/>
          <ac:picMkLst>
            <pc:docMk/>
            <pc:sldMk cId="600346065" sldId="2892"/>
            <ac:picMk id="7" creationId="{9F85CE8C-1629-4053-5744-16E77211DC59}"/>
          </ac:picMkLst>
        </pc:picChg>
        <pc:picChg chg="mod">
          <ac:chgData name="Lilith Pokorra" userId="29887f1b-b715-413d-8f68-9084865f2962" providerId="ADAL" clId="{651BA0CF-6CA2-4E34-A632-20A1A4DFFB9A}" dt="2024-05-29T13:58:32.092" v="160" actId="14826"/>
          <ac:picMkLst>
            <pc:docMk/>
            <pc:sldMk cId="600346065" sldId="2892"/>
            <ac:picMk id="9" creationId="{E6F8FEEE-3268-07E2-F293-02DD160951D0}"/>
          </ac:picMkLst>
        </pc:picChg>
        <pc:picChg chg="add mod">
          <ac:chgData name="Lilith Pokorra" userId="29887f1b-b715-413d-8f68-9084865f2962" providerId="ADAL" clId="{651BA0CF-6CA2-4E34-A632-20A1A4DFFB9A}" dt="2024-05-29T13:32:47.022" v="137"/>
          <ac:picMkLst>
            <pc:docMk/>
            <pc:sldMk cId="600346065" sldId="2892"/>
            <ac:picMk id="14" creationId="{6FA2CC40-FBD9-6F05-421F-0BA40BBB1ACC}"/>
          </ac:picMkLst>
        </pc:picChg>
        <pc:picChg chg="add del mod">
          <ac:chgData name="Lilith Pokorra" userId="29887f1b-b715-413d-8f68-9084865f2962" providerId="ADAL" clId="{651BA0CF-6CA2-4E34-A632-20A1A4DFFB9A}" dt="2024-05-29T13:32:46.801" v="136" actId="478"/>
          <ac:picMkLst>
            <pc:docMk/>
            <pc:sldMk cId="600346065" sldId="2892"/>
            <ac:picMk id="16" creationId="{3F2A4AC3-1B5A-514F-9AFA-27E43CCF8E5D}"/>
          </ac:picMkLst>
        </pc:picChg>
      </pc:sldChg>
      <pc:sldChg chg="addSp delSp modSp del mod">
        <pc:chgData name="Lilith Pokorra" userId="29887f1b-b715-413d-8f68-9084865f2962" providerId="ADAL" clId="{651BA0CF-6CA2-4E34-A632-20A1A4DFFB9A}" dt="2024-06-05T11:26:18.867" v="341" actId="2696"/>
        <pc:sldMkLst>
          <pc:docMk/>
          <pc:sldMk cId="3808946808" sldId="2893"/>
        </pc:sldMkLst>
        <pc:spChg chg="mod">
          <ac:chgData name="Lilith Pokorra" userId="29887f1b-b715-413d-8f68-9084865f2962" providerId="ADAL" clId="{651BA0CF-6CA2-4E34-A632-20A1A4DFFB9A}" dt="2024-05-29T13:26:15.862" v="88" actId="20577"/>
          <ac:spMkLst>
            <pc:docMk/>
            <pc:sldMk cId="3808946808" sldId="2893"/>
            <ac:spMk id="4" creationId="{FFA523F9-7D99-D0AB-7D5D-FB7B1405BB31}"/>
          </ac:spMkLst>
        </pc:spChg>
        <pc:spChg chg="mod">
          <ac:chgData name="Lilith Pokorra" userId="29887f1b-b715-413d-8f68-9084865f2962" providerId="ADAL" clId="{651BA0CF-6CA2-4E34-A632-20A1A4DFFB9A}" dt="2024-05-29T13:22:16.278" v="32"/>
          <ac:spMkLst>
            <pc:docMk/>
            <pc:sldMk cId="3808946808" sldId="2893"/>
            <ac:spMk id="8" creationId="{0CA11E77-59BF-703B-A2F3-D3A0718022C9}"/>
          </ac:spMkLst>
        </pc:spChg>
        <pc:spChg chg="mod">
          <ac:chgData name="Lilith Pokorra" userId="29887f1b-b715-413d-8f68-9084865f2962" providerId="ADAL" clId="{651BA0CF-6CA2-4E34-A632-20A1A4DFFB9A}" dt="2024-05-29T13:22:16.278" v="32"/>
          <ac:spMkLst>
            <pc:docMk/>
            <pc:sldMk cId="3808946808" sldId="2893"/>
            <ac:spMk id="9" creationId="{2BFED58E-A98D-B3F0-D153-61957BB50DD8}"/>
          </ac:spMkLst>
        </pc:spChg>
        <pc:spChg chg="mod">
          <ac:chgData name="Lilith Pokorra" userId="29887f1b-b715-413d-8f68-9084865f2962" providerId="ADAL" clId="{651BA0CF-6CA2-4E34-A632-20A1A4DFFB9A}" dt="2024-05-29T13:32:36.813" v="131"/>
          <ac:spMkLst>
            <pc:docMk/>
            <pc:sldMk cId="3808946808" sldId="2893"/>
            <ac:spMk id="10" creationId="{0BA5409B-D6F2-8E0D-5669-1B62C709AB61}"/>
          </ac:spMkLst>
        </pc:spChg>
        <pc:spChg chg="del topLvl">
          <ac:chgData name="Lilith Pokorra" userId="29887f1b-b715-413d-8f68-9084865f2962" providerId="ADAL" clId="{651BA0CF-6CA2-4E34-A632-20A1A4DFFB9A}" dt="2024-05-29T13:22:14.084" v="30" actId="478"/>
          <ac:spMkLst>
            <pc:docMk/>
            <pc:sldMk cId="3808946808" sldId="2893"/>
            <ac:spMk id="10" creationId="{CA8CB165-2BCF-805B-1601-EB44CD16C606}"/>
          </ac:spMkLst>
        </pc:spChg>
        <pc:spChg chg="mod">
          <ac:chgData name="Lilith Pokorra" userId="29887f1b-b715-413d-8f68-9084865f2962" providerId="ADAL" clId="{651BA0CF-6CA2-4E34-A632-20A1A4DFFB9A}" dt="2024-05-29T13:32:36.813" v="131"/>
          <ac:spMkLst>
            <pc:docMk/>
            <pc:sldMk cId="3808946808" sldId="2893"/>
            <ac:spMk id="12" creationId="{FD5D2B0A-45F3-8623-FB50-D71AC363E409}"/>
          </ac:spMkLst>
        </pc:spChg>
        <pc:grpChg chg="add mod">
          <ac:chgData name="Lilith Pokorra" userId="29887f1b-b715-413d-8f68-9084865f2962" providerId="ADAL" clId="{651BA0CF-6CA2-4E34-A632-20A1A4DFFB9A}" dt="2024-05-29T13:32:36.813" v="131"/>
          <ac:grpSpMkLst>
            <pc:docMk/>
            <pc:sldMk cId="3808946808" sldId="2893"/>
            <ac:grpSpMk id="3" creationId="{A1BEE733-8589-664A-4A71-B0DABBC52158}"/>
          </ac:grpSpMkLst>
        </pc:grpChg>
        <pc:grpChg chg="del">
          <ac:chgData name="Lilith Pokorra" userId="29887f1b-b715-413d-8f68-9084865f2962" providerId="ADAL" clId="{651BA0CF-6CA2-4E34-A632-20A1A4DFFB9A}" dt="2024-05-29T13:22:14.084" v="30" actId="478"/>
          <ac:grpSpMkLst>
            <pc:docMk/>
            <pc:sldMk cId="3808946808" sldId="2893"/>
            <ac:grpSpMk id="3" creationId="{E31E8C12-31EC-62EB-F3B8-8A866BB76D2A}"/>
          </ac:grpSpMkLst>
        </pc:grpChg>
        <pc:grpChg chg="add del mod">
          <ac:chgData name="Lilith Pokorra" userId="29887f1b-b715-413d-8f68-9084865f2962" providerId="ADAL" clId="{651BA0CF-6CA2-4E34-A632-20A1A4DFFB9A}" dt="2024-05-29T13:32:36.586" v="130" actId="478"/>
          <ac:grpSpMkLst>
            <pc:docMk/>
            <pc:sldMk cId="3808946808" sldId="2893"/>
            <ac:grpSpMk id="7" creationId="{090E12E8-126B-92FB-1601-4EB50B6DC7CF}"/>
          </ac:grpSpMkLst>
        </pc:grpChg>
        <pc:grpChg chg="del topLvl">
          <ac:chgData name="Lilith Pokorra" userId="29887f1b-b715-413d-8f68-9084865f2962" providerId="ADAL" clId="{651BA0CF-6CA2-4E34-A632-20A1A4DFFB9A}" dt="2024-05-29T13:22:16.008" v="31" actId="478"/>
          <ac:grpSpMkLst>
            <pc:docMk/>
            <pc:sldMk cId="3808946808" sldId="2893"/>
            <ac:grpSpMk id="12" creationId="{C27FF517-2722-C0E1-D664-5464C872C65F}"/>
          </ac:grpSpMkLst>
        </pc:grpChg>
        <pc:picChg chg="add del mod">
          <ac:chgData name="Lilith Pokorra" userId="29887f1b-b715-413d-8f68-9084865f2962" providerId="ADAL" clId="{651BA0CF-6CA2-4E34-A632-20A1A4DFFB9A}" dt="2024-05-29T13:32:36.586" v="130" actId="478"/>
          <ac:picMkLst>
            <pc:docMk/>
            <pc:sldMk cId="3808946808" sldId="2893"/>
            <ac:picMk id="11" creationId="{CA635A5B-013E-6F9E-B923-4B0D24DA2EAB}"/>
          </ac:picMkLst>
        </pc:picChg>
        <pc:picChg chg="add mod">
          <ac:chgData name="Lilith Pokorra" userId="29887f1b-b715-413d-8f68-9084865f2962" providerId="ADAL" clId="{651BA0CF-6CA2-4E34-A632-20A1A4DFFB9A}" dt="2024-05-29T13:32:36.813" v="131"/>
          <ac:picMkLst>
            <pc:docMk/>
            <pc:sldMk cId="3808946808" sldId="2893"/>
            <ac:picMk id="13" creationId="{5365D89B-295E-3AC5-8330-0F37C239C3A1}"/>
          </ac:picMkLst>
        </pc:picChg>
      </pc:sldChg>
      <pc:sldChg chg="addSp delSp modSp mod modNotesTx">
        <pc:chgData name="Lilith Pokorra" userId="29887f1b-b715-413d-8f68-9084865f2962" providerId="ADAL" clId="{651BA0CF-6CA2-4E34-A632-20A1A4DFFB9A}" dt="2024-06-05T12:26:48.079" v="886" actId="1076"/>
        <pc:sldMkLst>
          <pc:docMk/>
          <pc:sldMk cId="243876853" sldId="2894"/>
        </pc:sldMkLst>
        <pc:spChg chg="mod">
          <ac:chgData name="Lilith Pokorra" userId="29887f1b-b715-413d-8f68-9084865f2962" providerId="ADAL" clId="{651BA0CF-6CA2-4E34-A632-20A1A4DFFB9A}" dt="2024-06-05T12:26:48.079" v="886" actId="1076"/>
          <ac:spMkLst>
            <pc:docMk/>
            <pc:sldMk cId="243876853" sldId="2894"/>
            <ac:spMk id="7" creationId="{7D41F790-A5FD-6C41-4FA7-2D26570FBF10}"/>
          </ac:spMkLst>
        </pc:spChg>
        <pc:spChg chg="mod">
          <ac:chgData name="Lilith Pokorra" userId="29887f1b-b715-413d-8f68-9084865f2962" providerId="ADAL" clId="{651BA0CF-6CA2-4E34-A632-20A1A4DFFB9A}" dt="2024-05-29T13:22:05.731" v="27"/>
          <ac:spMkLst>
            <pc:docMk/>
            <pc:sldMk cId="243876853" sldId="2894"/>
            <ac:spMk id="9" creationId="{B5590FB9-E220-D6A9-5A18-07B859D32863}"/>
          </ac:spMkLst>
        </pc:spChg>
        <pc:spChg chg="mod">
          <ac:chgData name="Lilith Pokorra" userId="29887f1b-b715-413d-8f68-9084865f2962" providerId="ADAL" clId="{651BA0CF-6CA2-4E34-A632-20A1A4DFFB9A}" dt="2024-05-29T13:32:28.652" v="127"/>
          <ac:spMkLst>
            <pc:docMk/>
            <pc:sldMk cId="243876853" sldId="2894"/>
            <ac:spMk id="10" creationId="{873CA9B8-1C03-2C39-38AE-FB5D951E93BF}"/>
          </ac:spMkLst>
        </pc:spChg>
        <pc:spChg chg="mod">
          <ac:chgData name="Lilith Pokorra" userId="29887f1b-b715-413d-8f68-9084865f2962" providerId="ADAL" clId="{651BA0CF-6CA2-4E34-A632-20A1A4DFFB9A}" dt="2024-05-29T13:22:05.731" v="27"/>
          <ac:spMkLst>
            <pc:docMk/>
            <pc:sldMk cId="243876853" sldId="2894"/>
            <ac:spMk id="11" creationId="{E317F3E3-992E-BE55-4FA3-EE9A71DB6D3C}"/>
          </ac:spMkLst>
        </pc:spChg>
        <pc:spChg chg="mod">
          <ac:chgData name="Lilith Pokorra" userId="29887f1b-b715-413d-8f68-9084865f2962" providerId="ADAL" clId="{651BA0CF-6CA2-4E34-A632-20A1A4DFFB9A}" dt="2024-05-29T13:32:28.652" v="127"/>
          <ac:spMkLst>
            <pc:docMk/>
            <pc:sldMk cId="243876853" sldId="2894"/>
            <ac:spMk id="12" creationId="{30F6673F-F8D4-5227-C6D5-56BEE34653A5}"/>
          </ac:spMkLst>
        </pc:spChg>
        <pc:spChg chg="mod">
          <ac:chgData name="Lilith Pokorra" userId="29887f1b-b715-413d-8f68-9084865f2962" providerId="ADAL" clId="{651BA0CF-6CA2-4E34-A632-20A1A4DFFB9A}" dt="2024-05-29T13:25:07.857" v="79" actId="20577"/>
          <ac:spMkLst>
            <pc:docMk/>
            <pc:sldMk cId="243876853" sldId="2894"/>
            <ac:spMk id="27" creationId="{8E97F67B-7C29-9A49-D8A7-6FB066A3C957}"/>
          </ac:spMkLst>
        </pc:spChg>
        <pc:spChg chg="mod">
          <ac:chgData name="Lilith Pokorra" userId="29887f1b-b715-413d-8f68-9084865f2962" providerId="ADAL" clId="{651BA0CF-6CA2-4E34-A632-20A1A4DFFB9A}" dt="2024-05-29T13:25:10.428" v="81" actId="20577"/>
          <ac:spMkLst>
            <pc:docMk/>
            <pc:sldMk cId="243876853" sldId="2894"/>
            <ac:spMk id="28" creationId="{6D5C9800-676E-81FD-C34F-D8807AEBE132}"/>
          </ac:spMkLst>
        </pc:spChg>
        <pc:spChg chg="mod">
          <ac:chgData name="Lilith Pokorra" userId="29887f1b-b715-413d-8f68-9084865f2962" providerId="ADAL" clId="{651BA0CF-6CA2-4E34-A632-20A1A4DFFB9A}" dt="2024-06-05T12:26:32.895" v="884"/>
          <ac:spMkLst>
            <pc:docMk/>
            <pc:sldMk cId="243876853" sldId="2894"/>
            <ac:spMk id="29" creationId="{41CCA157-6FB6-61E4-B55A-819917009FC0}"/>
          </ac:spMkLst>
        </pc:spChg>
        <pc:grpChg chg="del">
          <ac:chgData name="Lilith Pokorra" userId="29887f1b-b715-413d-8f68-9084865f2962" providerId="ADAL" clId="{651BA0CF-6CA2-4E34-A632-20A1A4DFFB9A}" dt="2024-05-29T13:22:05.536" v="26" actId="478"/>
          <ac:grpSpMkLst>
            <pc:docMk/>
            <pc:sldMk cId="243876853" sldId="2894"/>
            <ac:grpSpMk id="3" creationId="{E31E8C12-31EC-62EB-F3B8-8A866BB76D2A}"/>
          </ac:grpSpMkLst>
        </pc:grpChg>
        <pc:grpChg chg="add mod">
          <ac:chgData name="Lilith Pokorra" userId="29887f1b-b715-413d-8f68-9084865f2962" providerId="ADAL" clId="{651BA0CF-6CA2-4E34-A632-20A1A4DFFB9A}" dt="2024-05-29T13:32:28.652" v="127"/>
          <ac:grpSpMkLst>
            <pc:docMk/>
            <pc:sldMk cId="243876853" sldId="2894"/>
            <ac:grpSpMk id="3" creationId="{FE48392A-905B-FE77-63A6-33BFC623755A}"/>
          </ac:grpSpMkLst>
        </pc:grpChg>
        <pc:grpChg chg="add del mod">
          <ac:chgData name="Lilith Pokorra" userId="29887f1b-b715-413d-8f68-9084865f2962" providerId="ADAL" clId="{651BA0CF-6CA2-4E34-A632-20A1A4DFFB9A}" dt="2024-05-29T13:32:28.450" v="126" actId="478"/>
          <ac:grpSpMkLst>
            <pc:docMk/>
            <pc:sldMk cId="243876853" sldId="2894"/>
            <ac:grpSpMk id="8" creationId="{D8B490EC-19C2-C8F3-E919-BCD88EEF7E13}"/>
          </ac:grpSpMkLst>
        </pc:grpChg>
        <pc:picChg chg="mod">
          <ac:chgData name="Lilith Pokorra" userId="29887f1b-b715-413d-8f68-9084865f2962" providerId="ADAL" clId="{651BA0CF-6CA2-4E34-A632-20A1A4DFFB9A}" dt="2024-05-29T13:59:59.867" v="161" actId="14826"/>
          <ac:picMkLst>
            <pc:docMk/>
            <pc:sldMk cId="243876853" sldId="2894"/>
            <ac:picMk id="4" creationId="{CF41ACF4-AE4D-7319-194F-5932DE1DC46B}"/>
          </ac:picMkLst>
        </pc:picChg>
        <pc:picChg chg="add del mod">
          <ac:chgData name="Lilith Pokorra" userId="29887f1b-b715-413d-8f68-9084865f2962" providerId="ADAL" clId="{651BA0CF-6CA2-4E34-A632-20A1A4DFFB9A}" dt="2024-05-29T13:57:36.529" v="156" actId="14826"/>
          <ac:picMkLst>
            <pc:docMk/>
            <pc:sldMk cId="243876853" sldId="2894"/>
            <ac:picMk id="5" creationId="{A9A0AFD5-908E-22FB-49E0-76C2FFAF4F3D}"/>
          </ac:picMkLst>
        </pc:picChg>
        <pc:picChg chg="add del mod">
          <ac:chgData name="Lilith Pokorra" userId="29887f1b-b715-413d-8f68-9084865f2962" providerId="ADAL" clId="{651BA0CF-6CA2-4E34-A632-20A1A4DFFB9A}" dt="2024-05-29T13:32:28.450" v="126" actId="478"/>
          <ac:picMkLst>
            <pc:docMk/>
            <pc:sldMk cId="243876853" sldId="2894"/>
            <ac:picMk id="13" creationId="{CEDD7C49-FA09-BBA0-310A-B335A7339F34}"/>
          </ac:picMkLst>
        </pc:picChg>
        <pc:picChg chg="add mod">
          <ac:chgData name="Lilith Pokorra" userId="29887f1b-b715-413d-8f68-9084865f2962" providerId="ADAL" clId="{651BA0CF-6CA2-4E34-A632-20A1A4DFFB9A}" dt="2024-05-29T13:32:28.652" v="127"/>
          <ac:picMkLst>
            <pc:docMk/>
            <pc:sldMk cId="243876853" sldId="2894"/>
            <ac:picMk id="14" creationId="{5B1AB94B-0CCF-F476-259F-C475C6A5A7D1}"/>
          </ac:picMkLst>
        </pc:picChg>
      </pc:sldChg>
      <pc:sldChg chg="addSp delSp modSp mod delAnim modAnim">
        <pc:chgData name="Lilith Pokorra" userId="29887f1b-b715-413d-8f68-9084865f2962" providerId="ADAL" clId="{651BA0CF-6CA2-4E34-A632-20A1A4DFFB9A}" dt="2024-06-05T12:40:34.876" v="1026"/>
        <pc:sldMkLst>
          <pc:docMk/>
          <pc:sldMk cId="3251786483" sldId="2895"/>
        </pc:sldMkLst>
        <pc:spChg chg="mod">
          <ac:chgData name="Lilith Pokorra" userId="29887f1b-b715-413d-8f68-9084865f2962" providerId="ADAL" clId="{651BA0CF-6CA2-4E34-A632-20A1A4DFFB9A}" dt="2024-05-29T13:27:09.147" v="105" actId="20577"/>
          <ac:spMkLst>
            <pc:docMk/>
            <pc:sldMk cId="3251786483" sldId="2895"/>
            <ac:spMk id="4" creationId="{FFA523F9-7D99-D0AB-7D5D-FB7B1405BB31}"/>
          </ac:spMkLst>
        </pc:spChg>
        <pc:spChg chg="mod">
          <ac:chgData name="Lilith Pokorra" userId="29887f1b-b715-413d-8f68-9084865f2962" providerId="ADAL" clId="{651BA0CF-6CA2-4E34-A632-20A1A4DFFB9A}" dt="2024-06-05T11:11:42.443" v="238" actId="20577"/>
          <ac:spMkLst>
            <pc:docMk/>
            <pc:sldMk cId="3251786483" sldId="2895"/>
            <ac:spMk id="5" creationId="{3F2FD22B-5AC3-2836-ECEA-62B9181319AC}"/>
          </ac:spMkLst>
        </pc:spChg>
        <pc:spChg chg="mod">
          <ac:chgData name="Lilith Pokorra" userId="29887f1b-b715-413d-8f68-9084865f2962" providerId="ADAL" clId="{651BA0CF-6CA2-4E34-A632-20A1A4DFFB9A}" dt="2024-05-29T13:22:38.010" v="41"/>
          <ac:spMkLst>
            <pc:docMk/>
            <pc:sldMk cId="3251786483" sldId="2895"/>
            <ac:spMk id="6" creationId="{00A464CD-7303-EDEB-0F26-D2B473484608}"/>
          </ac:spMkLst>
        </pc:spChg>
        <pc:spChg chg="mod">
          <ac:chgData name="Lilith Pokorra" userId="29887f1b-b715-413d-8f68-9084865f2962" providerId="ADAL" clId="{651BA0CF-6CA2-4E34-A632-20A1A4DFFB9A}" dt="2024-06-05T12:36:43.237" v="977" actId="1076"/>
          <ac:spMkLst>
            <pc:docMk/>
            <pc:sldMk cId="3251786483" sldId="2895"/>
            <ac:spMk id="7" creationId="{80DBA76E-C5BF-770E-B0D2-CDABA748B63E}"/>
          </ac:spMkLst>
        </pc:spChg>
        <pc:spChg chg="del">
          <ac:chgData name="Lilith Pokorra" userId="29887f1b-b715-413d-8f68-9084865f2962" providerId="ADAL" clId="{651BA0CF-6CA2-4E34-A632-20A1A4DFFB9A}" dt="2024-06-05T11:43:31.736" v="859" actId="478"/>
          <ac:spMkLst>
            <pc:docMk/>
            <pc:sldMk cId="3251786483" sldId="2895"/>
            <ac:spMk id="9" creationId="{A1C6E673-491F-7DC5-22A8-759BE865EACB}"/>
          </ac:spMkLst>
        </pc:spChg>
        <pc:spChg chg="mod">
          <ac:chgData name="Lilith Pokorra" userId="29887f1b-b715-413d-8f68-9084865f2962" providerId="ADAL" clId="{651BA0CF-6CA2-4E34-A632-20A1A4DFFB9A}" dt="2024-05-29T13:32:52.173" v="139"/>
          <ac:spMkLst>
            <pc:docMk/>
            <pc:sldMk cId="3251786483" sldId="2895"/>
            <ac:spMk id="10" creationId="{CB47FA25-A4A0-3C6E-E4B4-EB7C76CBFF80}"/>
          </ac:spMkLst>
        </pc:spChg>
        <pc:spChg chg="mod">
          <ac:chgData name="Lilith Pokorra" userId="29887f1b-b715-413d-8f68-9084865f2962" providerId="ADAL" clId="{651BA0CF-6CA2-4E34-A632-20A1A4DFFB9A}" dt="2024-05-29T13:22:38.010" v="41"/>
          <ac:spMkLst>
            <pc:docMk/>
            <pc:sldMk cId="3251786483" sldId="2895"/>
            <ac:spMk id="11" creationId="{065AED4E-6FF9-3B59-BFF2-E30AE8F4FDB6}"/>
          </ac:spMkLst>
        </pc:spChg>
        <pc:spChg chg="mod">
          <ac:chgData name="Lilith Pokorra" userId="29887f1b-b715-413d-8f68-9084865f2962" providerId="ADAL" clId="{651BA0CF-6CA2-4E34-A632-20A1A4DFFB9A}" dt="2024-05-29T13:32:52.173" v="139"/>
          <ac:spMkLst>
            <pc:docMk/>
            <pc:sldMk cId="3251786483" sldId="2895"/>
            <ac:spMk id="12" creationId="{EF5F9952-4BB3-1CE7-C9DE-88ACFFD179CA}"/>
          </ac:spMkLst>
        </pc:spChg>
        <pc:spChg chg="mod">
          <ac:chgData name="Lilith Pokorra" userId="29887f1b-b715-413d-8f68-9084865f2962" providerId="ADAL" clId="{651BA0CF-6CA2-4E34-A632-20A1A4DFFB9A}" dt="2024-06-05T12:37:58.212" v="997" actId="14100"/>
          <ac:spMkLst>
            <pc:docMk/>
            <pc:sldMk cId="3251786483" sldId="2895"/>
            <ac:spMk id="15" creationId="{2D84E545-6850-41ED-8EF3-7E2F30852ACA}"/>
          </ac:spMkLst>
        </pc:spChg>
        <pc:spChg chg="del mod">
          <ac:chgData name="Lilith Pokorra" userId="29887f1b-b715-413d-8f68-9084865f2962" providerId="ADAL" clId="{651BA0CF-6CA2-4E34-A632-20A1A4DFFB9A}" dt="2024-06-05T12:34:07.797" v="953" actId="478"/>
          <ac:spMkLst>
            <pc:docMk/>
            <pc:sldMk cId="3251786483" sldId="2895"/>
            <ac:spMk id="27" creationId="{E5886B81-2D55-F17D-784A-4E02DA2159E4}"/>
          </ac:spMkLst>
        </pc:spChg>
        <pc:spChg chg="mod">
          <ac:chgData name="Lilith Pokorra" userId="29887f1b-b715-413d-8f68-9084865f2962" providerId="ADAL" clId="{651BA0CF-6CA2-4E34-A632-20A1A4DFFB9A}" dt="2024-06-05T12:38:23.635" v="1002" actId="1076"/>
          <ac:spMkLst>
            <pc:docMk/>
            <pc:sldMk cId="3251786483" sldId="2895"/>
            <ac:spMk id="28" creationId="{D28BABCA-DEB6-8E02-C6C4-B8DC88CFA510}"/>
          </ac:spMkLst>
        </pc:spChg>
        <pc:spChg chg="mod">
          <ac:chgData name="Lilith Pokorra" userId="29887f1b-b715-413d-8f68-9084865f2962" providerId="ADAL" clId="{651BA0CF-6CA2-4E34-A632-20A1A4DFFB9A}" dt="2024-06-05T12:38:07.210" v="998" actId="14100"/>
          <ac:spMkLst>
            <pc:docMk/>
            <pc:sldMk cId="3251786483" sldId="2895"/>
            <ac:spMk id="29" creationId="{D65ED348-2ADA-47CD-775E-80B702086A48}"/>
          </ac:spMkLst>
        </pc:spChg>
        <pc:spChg chg="mod">
          <ac:chgData name="Lilith Pokorra" userId="29887f1b-b715-413d-8f68-9084865f2962" providerId="ADAL" clId="{651BA0CF-6CA2-4E34-A632-20A1A4DFFB9A}" dt="2024-06-05T12:38:57.831" v="1012" actId="1038"/>
          <ac:spMkLst>
            <pc:docMk/>
            <pc:sldMk cId="3251786483" sldId="2895"/>
            <ac:spMk id="30" creationId="{6AF10BBE-5F7F-86D5-9EB2-256575EF50AC}"/>
          </ac:spMkLst>
        </pc:spChg>
        <pc:spChg chg="mod">
          <ac:chgData name="Lilith Pokorra" userId="29887f1b-b715-413d-8f68-9084865f2962" providerId="ADAL" clId="{651BA0CF-6CA2-4E34-A632-20A1A4DFFB9A}" dt="2024-06-05T12:38:42.614" v="1005" actId="1076"/>
          <ac:spMkLst>
            <pc:docMk/>
            <pc:sldMk cId="3251786483" sldId="2895"/>
            <ac:spMk id="31" creationId="{ECFD5160-F7E6-24F9-4381-DF3C1EA28A18}"/>
          </ac:spMkLst>
        </pc:spChg>
        <pc:spChg chg="mod">
          <ac:chgData name="Lilith Pokorra" userId="29887f1b-b715-413d-8f68-9084865f2962" providerId="ADAL" clId="{651BA0CF-6CA2-4E34-A632-20A1A4DFFB9A}" dt="2024-06-05T12:38:30.721" v="1003" actId="1076"/>
          <ac:spMkLst>
            <pc:docMk/>
            <pc:sldMk cId="3251786483" sldId="2895"/>
            <ac:spMk id="32" creationId="{D9D7CF5F-1AC1-1687-40D2-4FA3983E95AB}"/>
          </ac:spMkLst>
        </pc:spChg>
        <pc:spChg chg="del mod">
          <ac:chgData name="Lilith Pokorra" userId="29887f1b-b715-413d-8f68-9084865f2962" providerId="ADAL" clId="{651BA0CF-6CA2-4E34-A632-20A1A4DFFB9A}" dt="2024-06-05T12:34:59.986" v="955" actId="478"/>
          <ac:spMkLst>
            <pc:docMk/>
            <pc:sldMk cId="3251786483" sldId="2895"/>
            <ac:spMk id="34" creationId="{FEADD1A2-D638-9D4E-418C-27FDCB352453}"/>
          </ac:spMkLst>
        </pc:spChg>
        <pc:spChg chg="add del mod">
          <ac:chgData name="Lilith Pokorra" userId="29887f1b-b715-413d-8f68-9084865f2962" providerId="ADAL" clId="{651BA0CF-6CA2-4E34-A632-20A1A4DFFB9A}" dt="2024-06-05T12:27:01.169" v="889" actId="478"/>
          <ac:spMkLst>
            <pc:docMk/>
            <pc:sldMk cId="3251786483" sldId="2895"/>
            <ac:spMk id="35" creationId="{B8D81125-E621-2712-6FF9-6771DAE80E9E}"/>
          </ac:spMkLst>
        </pc:spChg>
        <pc:spChg chg="add del mod">
          <ac:chgData name="Lilith Pokorra" userId="29887f1b-b715-413d-8f68-9084865f2962" providerId="ADAL" clId="{651BA0CF-6CA2-4E34-A632-20A1A4DFFB9A}" dt="2024-06-05T12:35:14.729" v="958" actId="478"/>
          <ac:spMkLst>
            <pc:docMk/>
            <pc:sldMk cId="3251786483" sldId="2895"/>
            <ac:spMk id="50" creationId="{8A5615B1-4BA2-F9B6-43E5-0C92A7E7E6E7}"/>
          </ac:spMkLst>
        </pc:spChg>
        <pc:spChg chg="add del mod">
          <ac:chgData name="Lilith Pokorra" userId="29887f1b-b715-413d-8f68-9084865f2962" providerId="ADAL" clId="{651BA0CF-6CA2-4E34-A632-20A1A4DFFB9A}" dt="2024-06-05T12:35:53.045" v="964" actId="478"/>
          <ac:spMkLst>
            <pc:docMk/>
            <pc:sldMk cId="3251786483" sldId="2895"/>
            <ac:spMk id="51" creationId="{A5956B09-8D8E-C80C-A43C-CD6087FE0163}"/>
          </ac:spMkLst>
        </pc:spChg>
        <pc:spChg chg="add del mod">
          <ac:chgData name="Lilith Pokorra" userId="29887f1b-b715-413d-8f68-9084865f2962" providerId="ADAL" clId="{651BA0CF-6CA2-4E34-A632-20A1A4DFFB9A}" dt="2024-06-05T12:35:53.045" v="964" actId="478"/>
          <ac:spMkLst>
            <pc:docMk/>
            <pc:sldMk cId="3251786483" sldId="2895"/>
            <ac:spMk id="52" creationId="{88693D49-030E-C4F6-9EE3-0D9E10D45650}"/>
          </ac:spMkLst>
        </pc:spChg>
        <pc:spChg chg="add del mod">
          <ac:chgData name="Lilith Pokorra" userId="29887f1b-b715-413d-8f68-9084865f2962" providerId="ADAL" clId="{651BA0CF-6CA2-4E34-A632-20A1A4DFFB9A}" dt="2024-06-05T12:35:53.045" v="964" actId="478"/>
          <ac:spMkLst>
            <pc:docMk/>
            <pc:sldMk cId="3251786483" sldId="2895"/>
            <ac:spMk id="53" creationId="{4E237C26-2B59-71E4-EBFE-8C3AD2667A5A}"/>
          </ac:spMkLst>
        </pc:spChg>
        <pc:spChg chg="add del mod">
          <ac:chgData name="Lilith Pokorra" userId="29887f1b-b715-413d-8f68-9084865f2962" providerId="ADAL" clId="{651BA0CF-6CA2-4E34-A632-20A1A4DFFB9A}" dt="2024-06-05T12:35:53.045" v="964" actId="478"/>
          <ac:spMkLst>
            <pc:docMk/>
            <pc:sldMk cId="3251786483" sldId="2895"/>
            <ac:spMk id="54" creationId="{CCDFC8EB-2E2F-6D3C-3646-30F2A575BBD8}"/>
          </ac:spMkLst>
        </pc:spChg>
        <pc:spChg chg="add mod">
          <ac:chgData name="Lilith Pokorra" userId="29887f1b-b715-413d-8f68-9084865f2962" providerId="ADAL" clId="{651BA0CF-6CA2-4E34-A632-20A1A4DFFB9A}" dt="2024-06-05T12:38:38.292" v="1004" actId="1076"/>
          <ac:spMkLst>
            <pc:docMk/>
            <pc:sldMk cId="3251786483" sldId="2895"/>
            <ac:spMk id="55" creationId="{0A1D9E2E-F221-D70E-42E9-F7A85B7002C6}"/>
          </ac:spMkLst>
        </pc:spChg>
        <pc:spChg chg="add mod">
          <ac:chgData name="Lilith Pokorra" userId="29887f1b-b715-413d-8f68-9084865f2962" providerId="ADAL" clId="{651BA0CF-6CA2-4E34-A632-20A1A4DFFB9A}" dt="2024-06-05T12:36:47.407" v="978" actId="1076"/>
          <ac:spMkLst>
            <pc:docMk/>
            <pc:sldMk cId="3251786483" sldId="2895"/>
            <ac:spMk id="56" creationId="{517EB61C-A716-BC49-851F-980F842DE664}"/>
          </ac:spMkLst>
        </pc:spChg>
        <pc:spChg chg="add del mod">
          <ac:chgData name="Lilith Pokorra" userId="29887f1b-b715-413d-8f68-9084865f2962" providerId="ADAL" clId="{651BA0CF-6CA2-4E34-A632-20A1A4DFFB9A}" dt="2024-06-05T12:37:21.618" v="987" actId="478"/>
          <ac:spMkLst>
            <pc:docMk/>
            <pc:sldMk cId="3251786483" sldId="2895"/>
            <ac:spMk id="57" creationId="{3DBDB2AF-BC5F-3CB5-BBC3-3DE15FD3D394}"/>
          </ac:spMkLst>
        </pc:spChg>
        <pc:spChg chg="add del mod">
          <ac:chgData name="Lilith Pokorra" userId="29887f1b-b715-413d-8f68-9084865f2962" providerId="ADAL" clId="{651BA0CF-6CA2-4E34-A632-20A1A4DFFB9A}" dt="2024-06-05T12:37:22.714" v="988" actId="478"/>
          <ac:spMkLst>
            <pc:docMk/>
            <pc:sldMk cId="3251786483" sldId="2895"/>
            <ac:spMk id="58" creationId="{57F15B5B-DEE8-22AA-0D4B-B95A3D481CF0}"/>
          </ac:spMkLst>
        </pc:spChg>
        <pc:spChg chg="add del mod">
          <ac:chgData name="Lilith Pokorra" userId="29887f1b-b715-413d-8f68-9084865f2962" providerId="ADAL" clId="{651BA0CF-6CA2-4E34-A632-20A1A4DFFB9A}" dt="2024-06-05T12:37:19.203" v="984" actId="478"/>
          <ac:spMkLst>
            <pc:docMk/>
            <pc:sldMk cId="3251786483" sldId="2895"/>
            <ac:spMk id="59" creationId="{DC522306-0852-CE26-585A-C3C4D720A444}"/>
          </ac:spMkLst>
        </pc:spChg>
        <pc:spChg chg="add del mod">
          <ac:chgData name="Lilith Pokorra" userId="29887f1b-b715-413d-8f68-9084865f2962" providerId="ADAL" clId="{651BA0CF-6CA2-4E34-A632-20A1A4DFFB9A}" dt="2024-06-05T12:37:19.203" v="984" actId="478"/>
          <ac:spMkLst>
            <pc:docMk/>
            <pc:sldMk cId="3251786483" sldId="2895"/>
            <ac:spMk id="60" creationId="{ED4F35B5-A57B-00BB-E9CB-BF1E6FB34CF5}"/>
          </ac:spMkLst>
        </pc:spChg>
        <pc:spChg chg="add del mod">
          <ac:chgData name="Lilith Pokorra" userId="29887f1b-b715-413d-8f68-9084865f2962" providerId="ADAL" clId="{651BA0CF-6CA2-4E34-A632-20A1A4DFFB9A}" dt="2024-06-05T12:37:44.922" v="993" actId="478"/>
          <ac:spMkLst>
            <pc:docMk/>
            <pc:sldMk cId="3251786483" sldId="2895"/>
            <ac:spMk id="61" creationId="{AB39DCA8-88B6-7184-D224-E5310A91F9BB}"/>
          </ac:spMkLst>
        </pc:spChg>
        <pc:spChg chg="add del mod">
          <ac:chgData name="Lilith Pokorra" userId="29887f1b-b715-413d-8f68-9084865f2962" providerId="ADAL" clId="{651BA0CF-6CA2-4E34-A632-20A1A4DFFB9A}" dt="2024-06-05T12:37:46.042" v="994" actId="478"/>
          <ac:spMkLst>
            <pc:docMk/>
            <pc:sldMk cId="3251786483" sldId="2895"/>
            <ac:spMk id="62" creationId="{0BA2A611-CE08-FD3A-F4D1-C6DAA1CDFF9B}"/>
          </ac:spMkLst>
        </pc:spChg>
        <pc:spChg chg="add del mod">
          <ac:chgData name="Lilith Pokorra" userId="29887f1b-b715-413d-8f68-9084865f2962" providerId="ADAL" clId="{651BA0CF-6CA2-4E34-A632-20A1A4DFFB9A}" dt="2024-06-05T12:37:43.683" v="992" actId="478"/>
          <ac:spMkLst>
            <pc:docMk/>
            <pc:sldMk cId="3251786483" sldId="2895"/>
            <ac:spMk id="63" creationId="{5046E32E-7942-ABD9-BD4A-3145746421E1}"/>
          </ac:spMkLst>
        </pc:spChg>
        <pc:spChg chg="add del mod">
          <ac:chgData name="Lilith Pokorra" userId="29887f1b-b715-413d-8f68-9084865f2962" providerId="ADAL" clId="{651BA0CF-6CA2-4E34-A632-20A1A4DFFB9A}" dt="2024-06-05T12:37:43.683" v="992" actId="478"/>
          <ac:spMkLst>
            <pc:docMk/>
            <pc:sldMk cId="3251786483" sldId="2895"/>
            <ac:spMk id="64" creationId="{C116274B-19AE-D63A-57D1-C8C1C399F184}"/>
          </ac:spMkLst>
        </pc:spChg>
        <pc:spChg chg="add mod">
          <ac:chgData name="Lilith Pokorra" userId="29887f1b-b715-413d-8f68-9084865f2962" providerId="ADAL" clId="{651BA0CF-6CA2-4E34-A632-20A1A4DFFB9A}" dt="2024-06-05T12:38:15.534" v="1000" actId="1076"/>
          <ac:spMkLst>
            <pc:docMk/>
            <pc:sldMk cId="3251786483" sldId="2895"/>
            <ac:spMk id="65" creationId="{1D0F2A92-A59F-5804-146D-FF6A05DB0608}"/>
          </ac:spMkLst>
        </pc:spChg>
        <pc:spChg chg="add mod">
          <ac:chgData name="Lilith Pokorra" userId="29887f1b-b715-413d-8f68-9084865f2962" providerId="ADAL" clId="{651BA0CF-6CA2-4E34-A632-20A1A4DFFB9A}" dt="2024-06-05T12:38:15.534" v="1000" actId="1076"/>
          <ac:spMkLst>
            <pc:docMk/>
            <pc:sldMk cId="3251786483" sldId="2895"/>
            <ac:spMk id="66" creationId="{9583EB28-06A0-7D81-519E-3F9FC2ADCA99}"/>
          </ac:spMkLst>
        </pc:spChg>
        <pc:spChg chg="add mod">
          <ac:chgData name="Lilith Pokorra" userId="29887f1b-b715-413d-8f68-9084865f2962" providerId="ADAL" clId="{651BA0CF-6CA2-4E34-A632-20A1A4DFFB9A}" dt="2024-06-05T12:38:18.111" v="1001" actId="571"/>
          <ac:spMkLst>
            <pc:docMk/>
            <pc:sldMk cId="3251786483" sldId="2895"/>
            <ac:spMk id="67" creationId="{A0B712CD-BED6-AB56-F649-C5BED8ACDE4D}"/>
          </ac:spMkLst>
        </pc:spChg>
        <pc:spChg chg="add mod">
          <ac:chgData name="Lilith Pokorra" userId="29887f1b-b715-413d-8f68-9084865f2962" providerId="ADAL" clId="{651BA0CF-6CA2-4E34-A632-20A1A4DFFB9A}" dt="2024-06-05T12:38:18.111" v="1001" actId="571"/>
          <ac:spMkLst>
            <pc:docMk/>
            <pc:sldMk cId="3251786483" sldId="2895"/>
            <ac:spMk id="68" creationId="{4933EECD-231B-FCEC-B591-86F0CB8BBA06}"/>
          </ac:spMkLst>
        </pc:spChg>
        <pc:grpChg chg="add del mod ord">
          <ac:chgData name="Lilith Pokorra" userId="29887f1b-b715-413d-8f68-9084865f2962" providerId="ADAL" clId="{651BA0CF-6CA2-4E34-A632-20A1A4DFFB9A}" dt="2024-06-05T12:31:25.765" v="932" actId="478"/>
          <ac:grpSpMkLst>
            <pc:docMk/>
            <pc:sldMk cId="3251786483" sldId="2895"/>
            <ac:grpSpMk id="2" creationId="{1DC016A9-BE56-63A0-D9EE-8627C3E6162C}"/>
          </ac:grpSpMkLst>
        </pc:grpChg>
        <pc:grpChg chg="add del mod">
          <ac:chgData name="Lilith Pokorra" userId="29887f1b-b715-413d-8f68-9084865f2962" providerId="ADAL" clId="{651BA0CF-6CA2-4E34-A632-20A1A4DFFB9A}" dt="2024-05-29T13:32:51.973" v="138" actId="478"/>
          <ac:grpSpMkLst>
            <pc:docMk/>
            <pc:sldMk cId="3251786483" sldId="2895"/>
            <ac:grpSpMk id="2" creationId="{D7CB88F5-ED0A-6C5C-106C-B584C73B9A81}"/>
          </ac:grpSpMkLst>
        </pc:grpChg>
        <pc:grpChg chg="add mod">
          <ac:chgData name="Lilith Pokorra" userId="29887f1b-b715-413d-8f68-9084865f2962" providerId="ADAL" clId="{651BA0CF-6CA2-4E34-A632-20A1A4DFFB9A}" dt="2024-05-29T13:32:52.173" v="139"/>
          <ac:grpSpMkLst>
            <pc:docMk/>
            <pc:sldMk cId="3251786483" sldId="2895"/>
            <ac:grpSpMk id="3" creationId="{42D3B146-8D19-D2F7-2EF4-48CA7BF87693}"/>
          </ac:grpSpMkLst>
        </pc:grpChg>
        <pc:grpChg chg="del">
          <ac:chgData name="Lilith Pokorra" userId="29887f1b-b715-413d-8f68-9084865f2962" providerId="ADAL" clId="{651BA0CF-6CA2-4E34-A632-20A1A4DFFB9A}" dt="2024-05-29T13:22:37.818" v="40" actId="478"/>
          <ac:grpSpMkLst>
            <pc:docMk/>
            <pc:sldMk cId="3251786483" sldId="2895"/>
            <ac:grpSpMk id="3" creationId="{E31E8C12-31EC-62EB-F3B8-8A866BB76D2A}"/>
          </ac:grpSpMkLst>
        </pc:grpChg>
        <pc:grpChg chg="mod">
          <ac:chgData name="Lilith Pokorra" userId="29887f1b-b715-413d-8f68-9084865f2962" providerId="ADAL" clId="{651BA0CF-6CA2-4E34-A632-20A1A4DFFB9A}" dt="2024-06-05T11:24:24.490" v="336"/>
          <ac:grpSpMkLst>
            <pc:docMk/>
            <pc:sldMk cId="3251786483" sldId="2895"/>
            <ac:grpSpMk id="6" creationId="{218186E7-6CAE-51E6-823F-107BC4098846}"/>
          </ac:grpSpMkLst>
        </pc:grpChg>
        <pc:grpChg chg="mod">
          <ac:chgData name="Lilith Pokorra" userId="29887f1b-b715-413d-8f68-9084865f2962" providerId="ADAL" clId="{651BA0CF-6CA2-4E34-A632-20A1A4DFFB9A}" dt="2024-06-05T11:24:24.490" v="336"/>
          <ac:grpSpMkLst>
            <pc:docMk/>
            <pc:sldMk cId="3251786483" sldId="2895"/>
            <ac:grpSpMk id="11" creationId="{6277B54A-5BAD-A631-BBE3-7B24052A4428}"/>
          </ac:grpSpMkLst>
        </pc:grpChg>
        <pc:grpChg chg="mod">
          <ac:chgData name="Lilith Pokorra" userId="29887f1b-b715-413d-8f68-9084865f2962" providerId="ADAL" clId="{651BA0CF-6CA2-4E34-A632-20A1A4DFFB9A}" dt="2024-06-05T11:24:24.490" v="336"/>
          <ac:grpSpMkLst>
            <pc:docMk/>
            <pc:sldMk cId="3251786483" sldId="2895"/>
            <ac:grpSpMk id="13" creationId="{A0ADA05C-341E-89E0-2952-5C84913EE3CB}"/>
          </ac:grpSpMkLst>
        </pc:grpChg>
        <pc:grpChg chg="add mod ord">
          <ac:chgData name="Lilith Pokorra" userId="29887f1b-b715-413d-8f68-9084865f2962" providerId="ADAL" clId="{651BA0CF-6CA2-4E34-A632-20A1A4DFFB9A}" dt="2024-06-05T12:31:28.453" v="934" actId="167"/>
          <ac:grpSpMkLst>
            <pc:docMk/>
            <pc:sldMk cId="3251786483" sldId="2895"/>
            <ac:grpSpMk id="36" creationId="{0B308AB0-4E2C-D341-C309-74B6048B90E1}"/>
          </ac:grpSpMkLst>
        </pc:grpChg>
        <pc:grpChg chg="mod">
          <ac:chgData name="Lilith Pokorra" userId="29887f1b-b715-413d-8f68-9084865f2962" providerId="ADAL" clId="{651BA0CF-6CA2-4E34-A632-20A1A4DFFB9A}" dt="2024-06-05T12:31:26.353" v="933"/>
          <ac:grpSpMkLst>
            <pc:docMk/>
            <pc:sldMk cId="3251786483" sldId="2895"/>
            <ac:grpSpMk id="37" creationId="{8AC9A814-A6D4-22F3-16AD-BB697F4C236B}"/>
          </ac:grpSpMkLst>
        </pc:grpChg>
        <pc:grpChg chg="mod">
          <ac:chgData name="Lilith Pokorra" userId="29887f1b-b715-413d-8f68-9084865f2962" providerId="ADAL" clId="{651BA0CF-6CA2-4E34-A632-20A1A4DFFB9A}" dt="2024-06-05T12:31:26.353" v="933"/>
          <ac:grpSpMkLst>
            <pc:docMk/>
            <pc:sldMk cId="3251786483" sldId="2895"/>
            <ac:grpSpMk id="38" creationId="{D3F146A1-70FE-0D44-8C96-1DEC12C876FA}"/>
          </ac:grpSpMkLst>
        </pc:grpChg>
        <pc:grpChg chg="mod">
          <ac:chgData name="Lilith Pokorra" userId="29887f1b-b715-413d-8f68-9084865f2962" providerId="ADAL" clId="{651BA0CF-6CA2-4E34-A632-20A1A4DFFB9A}" dt="2024-06-05T12:31:26.353" v="933"/>
          <ac:grpSpMkLst>
            <pc:docMk/>
            <pc:sldMk cId="3251786483" sldId="2895"/>
            <ac:grpSpMk id="39" creationId="{DDE8306A-842D-0618-3FD9-7C9468572755}"/>
          </ac:grpSpMkLst>
        </pc:grpChg>
        <pc:picChg chg="add del mod">
          <ac:chgData name="Lilith Pokorra" userId="29887f1b-b715-413d-8f68-9084865f2962" providerId="ADAL" clId="{651BA0CF-6CA2-4E34-A632-20A1A4DFFB9A}" dt="2024-05-29T13:32:51.973" v="138" actId="478"/>
          <ac:picMkLst>
            <pc:docMk/>
            <pc:sldMk cId="3251786483" sldId="2895"/>
            <ac:picMk id="13" creationId="{1A76F7B4-6D3B-8A2B-094C-37A5E5D2F325}"/>
          </ac:picMkLst>
        </pc:picChg>
        <pc:picChg chg="add mod">
          <ac:chgData name="Lilith Pokorra" userId="29887f1b-b715-413d-8f68-9084865f2962" providerId="ADAL" clId="{651BA0CF-6CA2-4E34-A632-20A1A4DFFB9A}" dt="2024-05-29T13:32:52.173" v="139"/>
          <ac:picMkLst>
            <pc:docMk/>
            <pc:sldMk cId="3251786483" sldId="2895"/>
            <ac:picMk id="14" creationId="{2AE765E8-06CE-E069-DD29-421AFB392114}"/>
          </ac:picMkLst>
        </pc:picChg>
        <pc:picChg chg="mod">
          <ac:chgData name="Lilith Pokorra" userId="29887f1b-b715-413d-8f68-9084865f2962" providerId="ADAL" clId="{651BA0CF-6CA2-4E34-A632-20A1A4DFFB9A}" dt="2024-06-05T11:24:24.490" v="336"/>
          <ac:picMkLst>
            <pc:docMk/>
            <pc:sldMk cId="3251786483" sldId="2895"/>
            <ac:picMk id="16" creationId="{01A73443-E1A7-3B89-BC6B-7B4A9476D060}"/>
          </ac:picMkLst>
        </pc:picChg>
        <pc:picChg chg="mod">
          <ac:chgData name="Lilith Pokorra" userId="29887f1b-b715-413d-8f68-9084865f2962" providerId="ADAL" clId="{651BA0CF-6CA2-4E34-A632-20A1A4DFFB9A}" dt="2024-06-05T11:24:24.490" v="336"/>
          <ac:picMkLst>
            <pc:docMk/>
            <pc:sldMk cId="3251786483" sldId="2895"/>
            <ac:picMk id="17" creationId="{61583051-DFB4-4584-33E4-DA0D9A2851DC}"/>
          </ac:picMkLst>
        </pc:picChg>
        <pc:picChg chg="mod">
          <ac:chgData name="Lilith Pokorra" userId="29887f1b-b715-413d-8f68-9084865f2962" providerId="ADAL" clId="{651BA0CF-6CA2-4E34-A632-20A1A4DFFB9A}" dt="2024-06-05T11:24:24.490" v="336"/>
          <ac:picMkLst>
            <pc:docMk/>
            <pc:sldMk cId="3251786483" sldId="2895"/>
            <ac:picMk id="18" creationId="{5B5AEAA3-FE59-B2BA-64F6-EF8F19CE2B0E}"/>
          </ac:picMkLst>
        </pc:picChg>
        <pc:picChg chg="mod">
          <ac:chgData name="Lilith Pokorra" userId="29887f1b-b715-413d-8f68-9084865f2962" providerId="ADAL" clId="{651BA0CF-6CA2-4E34-A632-20A1A4DFFB9A}" dt="2024-06-05T11:24:24.490" v="336"/>
          <ac:picMkLst>
            <pc:docMk/>
            <pc:sldMk cId="3251786483" sldId="2895"/>
            <ac:picMk id="19" creationId="{B633B9E7-AC20-5200-C44C-695E7D981864}"/>
          </ac:picMkLst>
        </pc:picChg>
        <pc:picChg chg="mod">
          <ac:chgData name="Lilith Pokorra" userId="29887f1b-b715-413d-8f68-9084865f2962" providerId="ADAL" clId="{651BA0CF-6CA2-4E34-A632-20A1A4DFFB9A}" dt="2024-06-05T11:24:24.490" v="336"/>
          <ac:picMkLst>
            <pc:docMk/>
            <pc:sldMk cId="3251786483" sldId="2895"/>
            <ac:picMk id="20" creationId="{CDD3FA7E-314E-287E-94A9-DD3B3386C13B}"/>
          </ac:picMkLst>
        </pc:picChg>
        <pc:picChg chg="mod">
          <ac:chgData name="Lilith Pokorra" userId="29887f1b-b715-413d-8f68-9084865f2962" providerId="ADAL" clId="{651BA0CF-6CA2-4E34-A632-20A1A4DFFB9A}" dt="2024-06-05T11:24:24.490" v="336"/>
          <ac:picMkLst>
            <pc:docMk/>
            <pc:sldMk cId="3251786483" sldId="2895"/>
            <ac:picMk id="21" creationId="{DDC02E02-FFC0-1A24-48C4-6400D5029F49}"/>
          </ac:picMkLst>
        </pc:picChg>
        <pc:picChg chg="mod">
          <ac:chgData name="Lilith Pokorra" userId="29887f1b-b715-413d-8f68-9084865f2962" providerId="ADAL" clId="{651BA0CF-6CA2-4E34-A632-20A1A4DFFB9A}" dt="2024-06-05T11:24:24.490" v="336"/>
          <ac:picMkLst>
            <pc:docMk/>
            <pc:sldMk cId="3251786483" sldId="2895"/>
            <ac:picMk id="22" creationId="{1929D54B-FBF1-D9B1-B9DC-DD251A07F53F}"/>
          </ac:picMkLst>
        </pc:picChg>
        <pc:picChg chg="mod">
          <ac:chgData name="Lilith Pokorra" userId="29887f1b-b715-413d-8f68-9084865f2962" providerId="ADAL" clId="{651BA0CF-6CA2-4E34-A632-20A1A4DFFB9A}" dt="2024-06-05T11:24:24.490" v="336"/>
          <ac:picMkLst>
            <pc:docMk/>
            <pc:sldMk cId="3251786483" sldId="2895"/>
            <ac:picMk id="23" creationId="{18283041-5CD0-4FFD-E9BD-A441D7174FE7}"/>
          </ac:picMkLst>
        </pc:picChg>
        <pc:picChg chg="del">
          <ac:chgData name="Lilith Pokorra" userId="29887f1b-b715-413d-8f68-9084865f2962" providerId="ADAL" clId="{651BA0CF-6CA2-4E34-A632-20A1A4DFFB9A}" dt="2024-06-05T11:11:11.222" v="231" actId="478"/>
          <ac:picMkLst>
            <pc:docMk/>
            <pc:sldMk cId="3251786483" sldId="2895"/>
            <ac:picMk id="24" creationId="{1F9791AC-D452-9356-98AF-67EF7184F36F}"/>
          </ac:picMkLst>
        </pc:picChg>
        <pc:picChg chg="mod">
          <ac:chgData name="Lilith Pokorra" userId="29887f1b-b715-413d-8f68-9084865f2962" providerId="ADAL" clId="{651BA0CF-6CA2-4E34-A632-20A1A4DFFB9A}" dt="2024-06-05T11:24:24.490" v="336"/>
          <ac:picMkLst>
            <pc:docMk/>
            <pc:sldMk cId="3251786483" sldId="2895"/>
            <ac:picMk id="25" creationId="{897E9B7C-96D0-1718-BBA5-0CA32F14D782}"/>
          </ac:picMkLst>
        </pc:picChg>
        <pc:picChg chg="del">
          <ac:chgData name="Lilith Pokorra" userId="29887f1b-b715-413d-8f68-9084865f2962" providerId="ADAL" clId="{651BA0CF-6CA2-4E34-A632-20A1A4DFFB9A}" dt="2024-06-05T11:11:11.777" v="232" actId="478"/>
          <ac:picMkLst>
            <pc:docMk/>
            <pc:sldMk cId="3251786483" sldId="2895"/>
            <ac:picMk id="26" creationId="{1D911C58-1861-4641-F7D8-F8BFBA381950}"/>
          </ac:picMkLst>
        </pc:picChg>
        <pc:picChg chg="mod">
          <ac:chgData name="Lilith Pokorra" userId="29887f1b-b715-413d-8f68-9084865f2962" providerId="ADAL" clId="{651BA0CF-6CA2-4E34-A632-20A1A4DFFB9A}" dt="2024-06-05T11:24:24.490" v="336"/>
          <ac:picMkLst>
            <pc:docMk/>
            <pc:sldMk cId="3251786483" sldId="2895"/>
            <ac:picMk id="33" creationId="{C2CF6813-33D1-C564-9431-AFDD54937060}"/>
          </ac:picMkLst>
        </pc:picChg>
        <pc:picChg chg="mod">
          <ac:chgData name="Lilith Pokorra" userId="29887f1b-b715-413d-8f68-9084865f2962" providerId="ADAL" clId="{651BA0CF-6CA2-4E34-A632-20A1A4DFFB9A}" dt="2024-06-05T12:31:26.353" v="933"/>
          <ac:picMkLst>
            <pc:docMk/>
            <pc:sldMk cId="3251786483" sldId="2895"/>
            <ac:picMk id="40" creationId="{1C8E7C4C-7B3B-98D3-ED36-A377ACF0C06C}"/>
          </ac:picMkLst>
        </pc:picChg>
        <pc:picChg chg="mod">
          <ac:chgData name="Lilith Pokorra" userId="29887f1b-b715-413d-8f68-9084865f2962" providerId="ADAL" clId="{651BA0CF-6CA2-4E34-A632-20A1A4DFFB9A}" dt="2024-06-05T12:31:26.353" v="933"/>
          <ac:picMkLst>
            <pc:docMk/>
            <pc:sldMk cId="3251786483" sldId="2895"/>
            <ac:picMk id="41" creationId="{1ADAFE5D-63EB-AD8D-FB24-54CF0C341DF6}"/>
          </ac:picMkLst>
        </pc:picChg>
        <pc:picChg chg="mod">
          <ac:chgData name="Lilith Pokorra" userId="29887f1b-b715-413d-8f68-9084865f2962" providerId="ADAL" clId="{651BA0CF-6CA2-4E34-A632-20A1A4DFFB9A}" dt="2024-06-05T12:31:26.353" v="933"/>
          <ac:picMkLst>
            <pc:docMk/>
            <pc:sldMk cId="3251786483" sldId="2895"/>
            <ac:picMk id="42" creationId="{B5C7D430-2DC1-B250-02C2-B576EA23F191}"/>
          </ac:picMkLst>
        </pc:picChg>
        <pc:picChg chg="mod">
          <ac:chgData name="Lilith Pokorra" userId="29887f1b-b715-413d-8f68-9084865f2962" providerId="ADAL" clId="{651BA0CF-6CA2-4E34-A632-20A1A4DFFB9A}" dt="2024-06-05T12:31:26.353" v="933"/>
          <ac:picMkLst>
            <pc:docMk/>
            <pc:sldMk cId="3251786483" sldId="2895"/>
            <ac:picMk id="43" creationId="{B7C0E1AD-E567-9840-A86A-30253996ACB1}"/>
          </ac:picMkLst>
        </pc:picChg>
        <pc:picChg chg="mod">
          <ac:chgData name="Lilith Pokorra" userId="29887f1b-b715-413d-8f68-9084865f2962" providerId="ADAL" clId="{651BA0CF-6CA2-4E34-A632-20A1A4DFFB9A}" dt="2024-06-05T12:31:26.353" v="933"/>
          <ac:picMkLst>
            <pc:docMk/>
            <pc:sldMk cId="3251786483" sldId="2895"/>
            <ac:picMk id="44" creationId="{1F8561F6-31FD-7E19-560A-487D60EC1333}"/>
          </ac:picMkLst>
        </pc:picChg>
        <pc:picChg chg="mod">
          <ac:chgData name="Lilith Pokorra" userId="29887f1b-b715-413d-8f68-9084865f2962" providerId="ADAL" clId="{651BA0CF-6CA2-4E34-A632-20A1A4DFFB9A}" dt="2024-06-05T12:31:26.353" v="933"/>
          <ac:picMkLst>
            <pc:docMk/>
            <pc:sldMk cId="3251786483" sldId="2895"/>
            <ac:picMk id="45" creationId="{A15C275B-A3DD-D6EF-2CAD-F6EC9E165332}"/>
          </ac:picMkLst>
        </pc:picChg>
        <pc:picChg chg="mod">
          <ac:chgData name="Lilith Pokorra" userId="29887f1b-b715-413d-8f68-9084865f2962" providerId="ADAL" clId="{651BA0CF-6CA2-4E34-A632-20A1A4DFFB9A}" dt="2024-06-05T12:31:26.353" v="933"/>
          <ac:picMkLst>
            <pc:docMk/>
            <pc:sldMk cId="3251786483" sldId="2895"/>
            <ac:picMk id="46" creationId="{5892049A-EE5E-6423-5799-A31AD5FC8E27}"/>
          </ac:picMkLst>
        </pc:picChg>
        <pc:picChg chg="mod">
          <ac:chgData name="Lilith Pokorra" userId="29887f1b-b715-413d-8f68-9084865f2962" providerId="ADAL" clId="{651BA0CF-6CA2-4E34-A632-20A1A4DFFB9A}" dt="2024-06-05T12:31:26.353" v="933"/>
          <ac:picMkLst>
            <pc:docMk/>
            <pc:sldMk cId="3251786483" sldId="2895"/>
            <ac:picMk id="47" creationId="{1E18CC79-D5F0-5223-22C1-EB7E6382BAA5}"/>
          </ac:picMkLst>
        </pc:picChg>
        <pc:picChg chg="mod">
          <ac:chgData name="Lilith Pokorra" userId="29887f1b-b715-413d-8f68-9084865f2962" providerId="ADAL" clId="{651BA0CF-6CA2-4E34-A632-20A1A4DFFB9A}" dt="2024-06-05T12:31:26.353" v="933"/>
          <ac:picMkLst>
            <pc:docMk/>
            <pc:sldMk cId="3251786483" sldId="2895"/>
            <ac:picMk id="48" creationId="{A477BD4F-39B6-2993-928F-1AC0C5A7609C}"/>
          </ac:picMkLst>
        </pc:picChg>
        <pc:picChg chg="mod">
          <ac:chgData name="Lilith Pokorra" userId="29887f1b-b715-413d-8f68-9084865f2962" providerId="ADAL" clId="{651BA0CF-6CA2-4E34-A632-20A1A4DFFB9A}" dt="2024-06-05T12:31:26.353" v="933"/>
          <ac:picMkLst>
            <pc:docMk/>
            <pc:sldMk cId="3251786483" sldId="2895"/>
            <ac:picMk id="49" creationId="{D7EE96D1-D30F-CE8E-6848-841D6AE32DAE}"/>
          </ac:picMkLst>
        </pc:picChg>
      </pc:sldChg>
      <pc:sldChg chg="addSp delSp modSp mod delAnim modAnim addCm delCm modCm">
        <pc:chgData name="Lilith Pokorra" userId="29887f1b-b715-413d-8f68-9084865f2962" providerId="ADAL" clId="{651BA0CF-6CA2-4E34-A632-20A1A4DFFB9A}" dt="2024-06-08T19:43:53.447" v="1050"/>
        <pc:sldMkLst>
          <pc:docMk/>
          <pc:sldMk cId="1101979549" sldId="2896"/>
        </pc:sldMkLst>
        <pc:spChg chg="mod">
          <ac:chgData name="Lilith Pokorra" userId="29887f1b-b715-413d-8f68-9084865f2962" providerId="ADAL" clId="{651BA0CF-6CA2-4E34-A632-20A1A4DFFB9A}" dt="2024-06-08T19:42:24.271" v="1035" actId="1076"/>
          <ac:spMkLst>
            <pc:docMk/>
            <pc:sldMk cId="1101979549" sldId="2896"/>
            <ac:spMk id="2" creationId="{C14D2076-F7D1-0470-0E21-DF97975C7D8F}"/>
          </ac:spMkLst>
        </pc:spChg>
        <pc:spChg chg="add mod">
          <ac:chgData name="Lilith Pokorra" userId="29887f1b-b715-413d-8f68-9084865f2962" providerId="ADAL" clId="{651BA0CF-6CA2-4E34-A632-20A1A4DFFB9A}" dt="2024-06-08T19:43:05.668" v="1048" actId="1076"/>
          <ac:spMkLst>
            <pc:docMk/>
            <pc:sldMk cId="1101979549" sldId="2896"/>
            <ac:spMk id="5" creationId="{0E661D4D-14F6-22C9-C0F6-0CE7158A2F29}"/>
          </ac:spMkLst>
        </pc:spChg>
        <pc:spChg chg="mod">
          <ac:chgData name="Lilith Pokorra" userId="29887f1b-b715-413d-8f68-9084865f2962" providerId="ADAL" clId="{651BA0CF-6CA2-4E34-A632-20A1A4DFFB9A}" dt="2024-05-29T13:27:12.758" v="106" actId="20577"/>
          <ac:spMkLst>
            <pc:docMk/>
            <pc:sldMk cId="1101979549" sldId="2896"/>
            <ac:spMk id="8" creationId="{392D003D-12E1-B651-A877-15556DAB1CAA}"/>
          </ac:spMkLst>
        </pc:spChg>
        <pc:spChg chg="mod">
          <ac:chgData name="Lilith Pokorra" userId="29887f1b-b715-413d-8f68-9084865f2962" providerId="ADAL" clId="{651BA0CF-6CA2-4E34-A632-20A1A4DFFB9A}" dt="2024-06-05T12:26:08.765" v="882" actId="14100"/>
          <ac:spMkLst>
            <pc:docMk/>
            <pc:sldMk cId="1101979549" sldId="2896"/>
            <ac:spMk id="9" creationId="{2A65381E-919D-438B-5105-0E6BC95EADCC}"/>
          </ac:spMkLst>
        </pc:spChg>
        <pc:spChg chg="mod">
          <ac:chgData name="Lilith Pokorra" userId="29887f1b-b715-413d-8f68-9084865f2962" providerId="ADAL" clId="{651BA0CF-6CA2-4E34-A632-20A1A4DFFB9A}" dt="2024-05-29T13:32:55.658" v="141"/>
          <ac:spMkLst>
            <pc:docMk/>
            <pc:sldMk cId="1101979549" sldId="2896"/>
            <ac:spMk id="10" creationId="{006595EB-B4C1-021C-7953-839033FEA07D}"/>
          </ac:spMkLst>
        </pc:spChg>
        <pc:spChg chg="add del">
          <ac:chgData name="Lilith Pokorra" userId="29887f1b-b715-413d-8f68-9084865f2962" providerId="ADAL" clId="{651BA0CF-6CA2-4E34-A632-20A1A4DFFB9A}" dt="2024-05-29T14:05:36.316" v="196" actId="478"/>
          <ac:spMkLst>
            <pc:docMk/>
            <pc:sldMk cId="1101979549" sldId="2896"/>
            <ac:spMk id="11" creationId="{DB148712-C4D8-F5B3-4CA0-1E694BA05AE7}"/>
          </ac:spMkLst>
        </pc:spChg>
        <pc:spChg chg="mod">
          <ac:chgData name="Lilith Pokorra" userId="29887f1b-b715-413d-8f68-9084865f2962" providerId="ADAL" clId="{651BA0CF-6CA2-4E34-A632-20A1A4DFFB9A}" dt="2024-05-29T13:32:55.658" v="141"/>
          <ac:spMkLst>
            <pc:docMk/>
            <pc:sldMk cId="1101979549" sldId="2896"/>
            <ac:spMk id="12" creationId="{43D89339-43BA-C3B6-B5AB-5FB2FB7BADD7}"/>
          </ac:spMkLst>
        </pc:spChg>
        <pc:spChg chg="mod">
          <ac:chgData name="Lilith Pokorra" userId="29887f1b-b715-413d-8f68-9084865f2962" providerId="ADAL" clId="{651BA0CF-6CA2-4E34-A632-20A1A4DFFB9A}" dt="2024-05-29T13:22:41.268" v="43"/>
          <ac:spMkLst>
            <pc:docMk/>
            <pc:sldMk cId="1101979549" sldId="2896"/>
            <ac:spMk id="13" creationId="{292CD2C6-A8C7-AB6F-A81A-366876053BB2}"/>
          </ac:spMkLst>
        </pc:spChg>
        <pc:spChg chg="mod">
          <ac:chgData name="Lilith Pokorra" userId="29887f1b-b715-413d-8f68-9084865f2962" providerId="ADAL" clId="{651BA0CF-6CA2-4E34-A632-20A1A4DFFB9A}" dt="2024-05-29T13:22:41.268" v="43"/>
          <ac:spMkLst>
            <pc:docMk/>
            <pc:sldMk cId="1101979549" sldId="2896"/>
            <ac:spMk id="15" creationId="{E5EABCC7-5CE7-9FCC-0214-DD1F820D9F09}"/>
          </ac:spMkLst>
        </pc:spChg>
        <pc:spChg chg="add mod">
          <ac:chgData name="Lilith Pokorra" userId="29887f1b-b715-413d-8f68-9084865f2962" providerId="ADAL" clId="{651BA0CF-6CA2-4E34-A632-20A1A4DFFB9A}" dt="2024-05-29T14:05:35.426" v="195" actId="1076"/>
          <ac:spMkLst>
            <pc:docMk/>
            <pc:sldMk cId="1101979549" sldId="2896"/>
            <ac:spMk id="20" creationId="{A31872FA-87E1-90BF-0E46-5314E149589F}"/>
          </ac:spMkLst>
        </pc:spChg>
        <pc:spChg chg="mod">
          <ac:chgData name="Lilith Pokorra" userId="29887f1b-b715-413d-8f68-9084865f2962" providerId="ADAL" clId="{651BA0CF-6CA2-4E34-A632-20A1A4DFFB9A}" dt="2024-05-29T14:06:06.042" v="202" actId="1076"/>
          <ac:spMkLst>
            <pc:docMk/>
            <pc:sldMk cId="1101979549" sldId="2896"/>
            <ac:spMk id="23" creationId="{52B4DB9A-54B5-60A1-CCFE-F5A3B02CA606}"/>
          </ac:spMkLst>
        </pc:spChg>
        <pc:spChg chg="mod">
          <ac:chgData name="Lilith Pokorra" userId="29887f1b-b715-413d-8f68-9084865f2962" providerId="ADAL" clId="{651BA0CF-6CA2-4E34-A632-20A1A4DFFB9A}" dt="2024-06-08T19:42:59.037" v="1046" actId="1076"/>
          <ac:spMkLst>
            <pc:docMk/>
            <pc:sldMk cId="1101979549" sldId="2896"/>
            <ac:spMk id="24" creationId="{69EEFAC2-3A33-7639-9ECB-539821193245}"/>
          </ac:spMkLst>
        </pc:spChg>
        <pc:spChg chg="mod">
          <ac:chgData name="Lilith Pokorra" userId="29887f1b-b715-413d-8f68-9084865f2962" providerId="ADAL" clId="{651BA0CF-6CA2-4E34-A632-20A1A4DFFB9A}" dt="2024-06-08T19:43:01.587" v="1047" actId="1076"/>
          <ac:spMkLst>
            <pc:docMk/>
            <pc:sldMk cId="1101979549" sldId="2896"/>
            <ac:spMk id="25" creationId="{3D13C4A2-7751-46BE-68C8-0F391CCED250}"/>
          </ac:spMkLst>
        </pc:spChg>
        <pc:spChg chg="mod">
          <ac:chgData name="Lilith Pokorra" userId="29887f1b-b715-413d-8f68-9084865f2962" providerId="ADAL" clId="{651BA0CF-6CA2-4E34-A632-20A1A4DFFB9A}" dt="2024-06-08T19:42:33.217" v="1037" actId="1076"/>
          <ac:spMkLst>
            <pc:docMk/>
            <pc:sldMk cId="1101979549" sldId="2896"/>
            <ac:spMk id="26" creationId="{42E9C007-76EC-D3CE-78C9-D1D21181900F}"/>
          </ac:spMkLst>
        </pc:spChg>
        <pc:spChg chg="mod">
          <ac:chgData name="Lilith Pokorra" userId="29887f1b-b715-413d-8f68-9084865f2962" providerId="ADAL" clId="{651BA0CF-6CA2-4E34-A632-20A1A4DFFB9A}" dt="2024-06-08T19:42:10.234" v="1031" actId="1076"/>
          <ac:spMkLst>
            <pc:docMk/>
            <pc:sldMk cId="1101979549" sldId="2896"/>
            <ac:spMk id="27" creationId="{5403E8F8-EA09-FDDF-190D-4D724673FAAB}"/>
          </ac:spMkLst>
        </pc:spChg>
        <pc:spChg chg="del mod">
          <ac:chgData name="Lilith Pokorra" userId="29887f1b-b715-413d-8f68-9084865f2962" providerId="ADAL" clId="{651BA0CF-6CA2-4E34-A632-20A1A4DFFB9A}" dt="2024-06-08T19:42:40.268" v="1040" actId="478"/>
          <ac:spMkLst>
            <pc:docMk/>
            <pc:sldMk cId="1101979549" sldId="2896"/>
            <ac:spMk id="28" creationId="{5B5403A1-2D16-47C9-51D9-123431C3CDDA}"/>
          </ac:spMkLst>
        </pc:spChg>
        <pc:spChg chg="mod">
          <ac:chgData name="Lilith Pokorra" userId="29887f1b-b715-413d-8f68-9084865f2962" providerId="ADAL" clId="{651BA0CF-6CA2-4E34-A632-20A1A4DFFB9A}" dt="2024-06-08T19:42:44.069" v="1041" actId="1076"/>
          <ac:spMkLst>
            <pc:docMk/>
            <pc:sldMk cId="1101979549" sldId="2896"/>
            <ac:spMk id="29" creationId="{18931DD0-77C8-64BA-6D99-0AC2A064052B}"/>
          </ac:spMkLst>
        </pc:spChg>
        <pc:spChg chg="mod">
          <ac:chgData name="Lilith Pokorra" userId="29887f1b-b715-413d-8f68-9084865f2962" providerId="ADAL" clId="{651BA0CF-6CA2-4E34-A632-20A1A4DFFB9A}" dt="2024-06-08T19:43:09.608" v="1049" actId="1076"/>
          <ac:spMkLst>
            <pc:docMk/>
            <pc:sldMk cId="1101979549" sldId="2896"/>
            <ac:spMk id="30" creationId="{E8758269-E45C-262E-67F1-8E5D33218921}"/>
          </ac:spMkLst>
        </pc:spChg>
        <pc:grpChg chg="add mod">
          <ac:chgData name="Lilith Pokorra" userId="29887f1b-b715-413d-8f68-9084865f2962" providerId="ADAL" clId="{651BA0CF-6CA2-4E34-A632-20A1A4DFFB9A}" dt="2024-05-29T13:32:55.658" v="141"/>
          <ac:grpSpMkLst>
            <pc:docMk/>
            <pc:sldMk cId="1101979549" sldId="2896"/>
            <ac:grpSpMk id="3" creationId="{B8B47599-DFE5-3FC9-E4D3-F03D19132849}"/>
          </ac:grpSpMkLst>
        </pc:grpChg>
        <pc:grpChg chg="del">
          <ac:chgData name="Lilith Pokorra" userId="29887f1b-b715-413d-8f68-9084865f2962" providerId="ADAL" clId="{651BA0CF-6CA2-4E34-A632-20A1A4DFFB9A}" dt="2024-05-29T13:22:41.093" v="42" actId="478"/>
          <ac:grpSpMkLst>
            <pc:docMk/>
            <pc:sldMk cId="1101979549" sldId="2896"/>
            <ac:grpSpMk id="3" creationId="{E31E8C12-31EC-62EB-F3B8-8A866BB76D2A}"/>
          </ac:grpSpMkLst>
        </pc:grpChg>
        <pc:grpChg chg="add del mod">
          <ac:chgData name="Lilith Pokorra" userId="29887f1b-b715-413d-8f68-9084865f2962" providerId="ADAL" clId="{651BA0CF-6CA2-4E34-A632-20A1A4DFFB9A}" dt="2024-05-29T13:32:55.466" v="140" actId="478"/>
          <ac:grpSpMkLst>
            <pc:docMk/>
            <pc:sldMk cId="1101979549" sldId="2896"/>
            <ac:grpSpMk id="6" creationId="{6364EB1D-4B3C-C771-A8A4-908A51FA3676}"/>
          </ac:grpSpMkLst>
        </pc:grpChg>
        <pc:picChg chg="del">
          <ac:chgData name="Lilith Pokorra" userId="29887f1b-b715-413d-8f68-9084865f2962" providerId="ADAL" clId="{651BA0CF-6CA2-4E34-A632-20A1A4DFFB9A}" dt="2024-05-29T14:01:27.787" v="170" actId="478"/>
          <ac:picMkLst>
            <pc:docMk/>
            <pc:sldMk cId="1101979549" sldId="2896"/>
            <ac:picMk id="5" creationId="{ACFC3932-23E9-3FF9-D7A4-0E1F65A0CB1A}"/>
          </ac:picMkLst>
        </pc:picChg>
        <pc:picChg chg="del">
          <ac:chgData name="Lilith Pokorra" userId="29887f1b-b715-413d-8f68-9084865f2962" providerId="ADAL" clId="{651BA0CF-6CA2-4E34-A632-20A1A4DFFB9A}" dt="2024-05-29T14:01:27.787" v="170" actId="478"/>
          <ac:picMkLst>
            <pc:docMk/>
            <pc:sldMk cId="1101979549" sldId="2896"/>
            <ac:picMk id="7" creationId="{1892159A-0F83-A2CC-094C-5C3621C0EEF2}"/>
          </ac:picMkLst>
        </pc:picChg>
        <pc:picChg chg="add mod">
          <ac:chgData name="Lilith Pokorra" userId="29887f1b-b715-413d-8f68-9084865f2962" providerId="ADAL" clId="{651BA0CF-6CA2-4E34-A632-20A1A4DFFB9A}" dt="2024-05-29T13:32:55.658" v="141"/>
          <ac:picMkLst>
            <pc:docMk/>
            <pc:sldMk cId="1101979549" sldId="2896"/>
            <ac:picMk id="14" creationId="{58E0BB2A-C5D6-5A46-F959-96A0FE357CC7}"/>
          </ac:picMkLst>
        </pc:picChg>
        <pc:picChg chg="add del mod">
          <ac:chgData name="Lilith Pokorra" userId="29887f1b-b715-413d-8f68-9084865f2962" providerId="ADAL" clId="{651BA0CF-6CA2-4E34-A632-20A1A4DFFB9A}" dt="2024-05-29T13:32:55.466" v="140" actId="478"/>
          <ac:picMkLst>
            <pc:docMk/>
            <pc:sldMk cId="1101979549" sldId="2896"/>
            <ac:picMk id="16" creationId="{93AF44D4-A9C3-5D37-2339-C7D509392FC1}"/>
          </ac:picMkLst>
        </pc:picChg>
        <pc:picChg chg="add del mod ord">
          <ac:chgData name="Lilith Pokorra" userId="29887f1b-b715-413d-8f68-9084865f2962" providerId="ADAL" clId="{651BA0CF-6CA2-4E34-A632-20A1A4DFFB9A}" dt="2024-05-29T14:05:47.420" v="197" actId="478"/>
          <ac:picMkLst>
            <pc:docMk/>
            <pc:sldMk cId="1101979549" sldId="2896"/>
            <ac:picMk id="17" creationId="{300FF5D2-A5E3-2A40-A495-A33E94E169A0}"/>
          </ac:picMkLst>
        </pc:picChg>
        <pc:picChg chg="add del mod ord">
          <ac:chgData name="Lilith Pokorra" userId="29887f1b-b715-413d-8f68-9084865f2962" providerId="ADAL" clId="{651BA0CF-6CA2-4E34-A632-20A1A4DFFB9A}" dt="2024-05-29T14:05:47.420" v="197" actId="478"/>
          <ac:picMkLst>
            <pc:docMk/>
            <pc:sldMk cId="1101979549" sldId="2896"/>
            <ac:picMk id="18" creationId="{8D2E3887-5842-F6D4-1D50-CA70B9B58D20}"/>
          </ac:picMkLst>
        </pc:picChg>
        <pc:picChg chg="add del mod ord">
          <ac:chgData name="Lilith Pokorra" userId="29887f1b-b715-413d-8f68-9084865f2962" providerId="ADAL" clId="{651BA0CF-6CA2-4E34-A632-20A1A4DFFB9A}" dt="2024-05-29T14:05:47.420" v="197" actId="478"/>
          <ac:picMkLst>
            <pc:docMk/>
            <pc:sldMk cId="1101979549" sldId="2896"/>
            <ac:picMk id="19" creationId="{8AB5673C-49E4-037A-DB02-735BD8C4EB3E}"/>
          </ac:picMkLst>
        </pc:picChg>
        <pc:picChg chg="add mod ord">
          <ac:chgData name="Lilith Pokorra" userId="29887f1b-b715-413d-8f68-9084865f2962" providerId="ADAL" clId="{651BA0CF-6CA2-4E34-A632-20A1A4DFFB9A}" dt="2024-06-08T19:42:24.271" v="1035" actId="1076"/>
          <ac:picMkLst>
            <pc:docMk/>
            <pc:sldMk cId="1101979549" sldId="2896"/>
            <ac:picMk id="21" creationId="{A2D673A5-B5EA-83A0-097E-32443DA2A0E8}"/>
          </ac:picMkLst>
        </pc:picChg>
        <pc:picChg chg="add mod ord">
          <ac:chgData name="Lilith Pokorra" userId="29887f1b-b715-413d-8f68-9084865f2962" providerId="ADAL" clId="{651BA0CF-6CA2-4E34-A632-20A1A4DFFB9A}" dt="2024-06-05T12:25:29.200" v="869" actId="14826"/>
          <ac:picMkLst>
            <pc:docMk/>
            <pc:sldMk cId="1101979549" sldId="2896"/>
            <ac:picMk id="22" creationId="{85D718FE-A53F-B1F3-1812-C90F84397FF6}"/>
          </ac:picMkLst>
        </pc:picChg>
        <pc:picChg chg="add mod ord">
          <ac:chgData name="Lilith Pokorra" userId="29887f1b-b715-413d-8f68-9084865f2962" providerId="ADAL" clId="{651BA0CF-6CA2-4E34-A632-20A1A4DFFB9A}" dt="2024-06-05T12:25:52.595" v="870" actId="14826"/>
          <ac:picMkLst>
            <pc:docMk/>
            <pc:sldMk cId="1101979549" sldId="2896"/>
            <ac:picMk id="31" creationId="{C5677955-1F82-BAD5-C8C5-F6179C1D30F6}"/>
          </ac:picMkLst>
        </pc:picChg>
      </pc:sldChg>
      <pc:sldChg chg="addSp delSp modSp mod">
        <pc:chgData name="Lilith Pokorra" userId="29887f1b-b715-413d-8f68-9084865f2962" providerId="ADAL" clId="{651BA0CF-6CA2-4E34-A632-20A1A4DFFB9A}" dt="2024-06-08T19:50:04.597" v="1053" actId="14100"/>
        <pc:sldMkLst>
          <pc:docMk/>
          <pc:sldMk cId="3884905545" sldId="3334"/>
        </pc:sldMkLst>
        <pc:spChg chg="mod">
          <ac:chgData name="Lilith Pokorra" userId="29887f1b-b715-413d-8f68-9084865f2962" providerId="ADAL" clId="{651BA0CF-6CA2-4E34-A632-20A1A4DFFB9A}" dt="2024-05-29T13:21:53.705" v="21"/>
          <ac:spMkLst>
            <pc:docMk/>
            <pc:sldMk cId="3884905545" sldId="3334"/>
            <ac:spMk id="5" creationId="{F64C9203-3F01-890A-B421-CD6CEF904626}"/>
          </ac:spMkLst>
        </pc:spChg>
        <pc:spChg chg="mod">
          <ac:chgData name="Lilith Pokorra" userId="29887f1b-b715-413d-8f68-9084865f2962" providerId="ADAL" clId="{651BA0CF-6CA2-4E34-A632-20A1A4DFFB9A}" dt="2024-05-29T13:31:51.622" v="120" actId="1037"/>
          <ac:spMkLst>
            <pc:docMk/>
            <pc:sldMk cId="3884905545" sldId="3334"/>
            <ac:spMk id="6" creationId="{B6F2B6BF-DFA6-2876-0598-C46240809055}"/>
          </ac:spMkLst>
        </pc:spChg>
        <pc:spChg chg="del">
          <ac:chgData name="Lilith Pokorra" userId="29887f1b-b715-413d-8f68-9084865f2962" providerId="ADAL" clId="{651BA0CF-6CA2-4E34-A632-20A1A4DFFB9A}" dt="2024-05-29T13:23:42.809" v="61" actId="478"/>
          <ac:spMkLst>
            <pc:docMk/>
            <pc:sldMk cId="3884905545" sldId="3334"/>
            <ac:spMk id="7" creationId="{1B56337D-0130-8A19-2CBA-9264E2AD0961}"/>
          </ac:spMkLst>
        </pc:spChg>
        <pc:spChg chg="mod">
          <ac:chgData name="Lilith Pokorra" userId="29887f1b-b715-413d-8f68-9084865f2962" providerId="ADAL" clId="{651BA0CF-6CA2-4E34-A632-20A1A4DFFB9A}" dt="2024-06-08T19:50:04.597" v="1053" actId="14100"/>
          <ac:spMkLst>
            <pc:docMk/>
            <pc:sldMk cId="3884905545" sldId="3334"/>
            <ac:spMk id="15" creationId="{2F93D8C7-1F1C-A4DC-79A6-E927BDF798C9}"/>
          </ac:spMkLst>
        </pc:spChg>
        <pc:spChg chg="add mod">
          <ac:chgData name="Lilith Pokorra" userId="29887f1b-b715-413d-8f68-9084865f2962" providerId="ADAL" clId="{651BA0CF-6CA2-4E34-A632-20A1A4DFFB9A}" dt="2024-05-29T13:23:43.188" v="62"/>
          <ac:spMkLst>
            <pc:docMk/>
            <pc:sldMk cId="3884905545" sldId="3334"/>
            <ac:spMk id="21" creationId="{1EC4E7F7-E37C-FB9E-7BF9-DF10C02D03C5}"/>
          </ac:spMkLst>
        </pc:spChg>
        <pc:grpChg chg="add mod">
          <ac:chgData name="Lilith Pokorra" userId="29887f1b-b715-413d-8f68-9084865f2962" providerId="ADAL" clId="{651BA0CF-6CA2-4E34-A632-20A1A4DFFB9A}" dt="2024-05-29T13:21:53.705" v="21"/>
          <ac:grpSpMkLst>
            <pc:docMk/>
            <pc:sldMk cId="3884905545" sldId="3334"/>
            <ac:grpSpMk id="3" creationId="{2C520C16-C63A-1475-06E5-2081FF43BF3D}"/>
          </ac:grpSpMkLst>
        </pc:grpChg>
        <pc:grpChg chg="del">
          <ac:chgData name="Lilith Pokorra" userId="29887f1b-b715-413d-8f68-9084865f2962" providerId="ADAL" clId="{651BA0CF-6CA2-4E34-A632-20A1A4DFFB9A}" dt="2024-05-29T13:21:53.121" v="20" actId="478"/>
          <ac:grpSpMkLst>
            <pc:docMk/>
            <pc:sldMk cId="3884905545" sldId="3334"/>
            <ac:grpSpMk id="8" creationId="{56BBD887-E58D-9AD5-8CE3-7575001C6642}"/>
          </ac:grpSpMkLst>
        </pc:grpChg>
        <pc:picChg chg="add mod">
          <ac:chgData name="Lilith Pokorra" userId="29887f1b-b715-413d-8f68-9084865f2962" providerId="ADAL" clId="{651BA0CF-6CA2-4E34-A632-20A1A4DFFB9A}" dt="2024-05-29T13:21:53.705" v="21"/>
          <ac:picMkLst>
            <pc:docMk/>
            <pc:sldMk cId="3884905545" sldId="3334"/>
            <ac:picMk id="20" creationId="{CFFFFBD1-2E7F-2F62-AB22-387193252ACE}"/>
          </ac:picMkLst>
        </pc:picChg>
      </pc:sldChg>
      <pc:sldChg chg="addSp delSp modSp mod">
        <pc:chgData name="Lilith Pokorra" userId="29887f1b-b715-413d-8f68-9084865f2962" providerId="ADAL" clId="{651BA0CF-6CA2-4E34-A632-20A1A4DFFB9A}" dt="2024-06-08T19:50:30.300" v="1054" actId="313"/>
        <pc:sldMkLst>
          <pc:docMk/>
          <pc:sldMk cId="3389584587" sldId="3342"/>
        </pc:sldMkLst>
        <pc:spChg chg="mod">
          <ac:chgData name="Lilith Pokorra" userId="29887f1b-b715-413d-8f68-9084865f2962" providerId="ADAL" clId="{651BA0CF-6CA2-4E34-A632-20A1A4DFFB9A}" dt="2024-05-29T13:21:57.621" v="23"/>
          <ac:spMkLst>
            <pc:docMk/>
            <pc:sldMk cId="3389584587" sldId="3342"/>
            <ac:spMk id="5" creationId="{8521161C-1BDE-C4A6-5647-BB72547C20F6}"/>
          </ac:spMkLst>
        </pc:spChg>
        <pc:spChg chg="mod">
          <ac:chgData name="Lilith Pokorra" userId="29887f1b-b715-413d-8f68-9084865f2962" providerId="ADAL" clId="{651BA0CF-6CA2-4E34-A632-20A1A4DFFB9A}" dt="2024-05-29T13:21:57.621" v="23"/>
          <ac:spMkLst>
            <pc:docMk/>
            <pc:sldMk cId="3389584587" sldId="3342"/>
            <ac:spMk id="7" creationId="{FDD05F33-AA7D-9400-2C3C-24054EA400C0}"/>
          </ac:spMkLst>
        </pc:spChg>
        <pc:spChg chg="add mod">
          <ac:chgData name="Lilith Pokorra" userId="29887f1b-b715-413d-8f68-9084865f2962" providerId="ADAL" clId="{651BA0CF-6CA2-4E34-A632-20A1A4DFFB9A}" dt="2024-05-29T13:23:37.445" v="60"/>
          <ac:spMkLst>
            <pc:docMk/>
            <pc:sldMk cId="3389584587" sldId="3342"/>
            <ac:spMk id="10" creationId="{50F55CE7-9DF4-41E4-134B-5E1A4A70EBE1}"/>
          </ac:spMkLst>
        </pc:spChg>
        <pc:spChg chg="mod">
          <ac:chgData name="Lilith Pokorra" userId="29887f1b-b715-413d-8f68-9084865f2962" providerId="ADAL" clId="{651BA0CF-6CA2-4E34-A632-20A1A4DFFB9A}" dt="2024-06-08T19:50:30.300" v="1054" actId="313"/>
          <ac:spMkLst>
            <pc:docMk/>
            <pc:sldMk cId="3389584587" sldId="3342"/>
            <ac:spMk id="12" creationId="{1C9F2A80-2C5F-C036-78F9-6D450395F7E7}"/>
          </ac:spMkLst>
        </pc:spChg>
        <pc:spChg chg="del mod">
          <ac:chgData name="Lilith Pokorra" userId="29887f1b-b715-413d-8f68-9084865f2962" providerId="ADAL" clId="{651BA0CF-6CA2-4E34-A632-20A1A4DFFB9A}" dt="2024-05-29T13:23:34.256" v="59" actId="478"/>
          <ac:spMkLst>
            <pc:docMk/>
            <pc:sldMk cId="3389584587" sldId="3342"/>
            <ac:spMk id="19" creationId="{01115D56-8FCC-E153-2795-7BD4DEECE8CA}"/>
          </ac:spMkLst>
        </pc:spChg>
        <pc:spChg chg="mod">
          <ac:chgData name="Lilith Pokorra" userId="29887f1b-b715-413d-8f68-9084865f2962" providerId="ADAL" clId="{651BA0CF-6CA2-4E34-A632-20A1A4DFFB9A}" dt="2024-05-29T13:32:20.553" v="123"/>
          <ac:spMkLst>
            <pc:docMk/>
            <pc:sldMk cId="3389584587" sldId="3342"/>
            <ac:spMk id="20" creationId="{1BF8DB17-F79D-D140-D652-486A66800169}"/>
          </ac:spMkLst>
        </pc:spChg>
        <pc:spChg chg="mod">
          <ac:chgData name="Lilith Pokorra" userId="29887f1b-b715-413d-8f68-9084865f2962" providerId="ADAL" clId="{651BA0CF-6CA2-4E34-A632-20A1A4DFFB9A}" dt="2024-05-29T13:32:20.553" v="123"/>
          <ac:spMkLst>
            <pc:docMk/>
            <pc:sldMk cId="3389584587" sldId="3342"/>
            <ac:spMk id="21" creationId="{6F1C9350-E95A-0D3C-FAE6-B3D636B169B4}"/>
          </ac:spMkLst>
        </pc:spChg>
        <pc:grpChg chg="add del mod">
          <ac:chgData name="Lilith Pokorra" userId="29887f1b-b715-413d-8f68-9084865f2962" providerId="ADAL" clId="{651BA0CF-6CA2-4E34-A632-20A1A4DFFB9A}" dt="2024-05-29T13:32:20.241" v="122" actId="478"/>
          <ac:grpSpMkLst>
            <pc:docMk/>
            <pc:sldMk cId="3389584587" sldId="3342"/>
            <ac:grpSpMk id="3" creationId="{72B04F15-D9BC-7CE9-024B-C64856CFFE6F}"/>
          </ac:grpSpMkLst>
        </pc:grpChg>
        <pc:grpChg chg="add mod">
          <ac:chgData name="Lilith Pokorra" userId="29887f1b-b715-413d-8f68-9084865f2962" providerId="ADAL" clId="{651BA0CF-6CA2-4E34-A632-20A1A4DFFB9A}" dt="2024-05-29T13:32:20.553" v="123"/>
          <ac:grpSpMkLst>
            <pc:docMk/>
            <pc:sldMk cId="3389584587" sldId="3342"/>
            <ac:grpSpMk id="19" creationId="{E684AF26-3EDF-7598-7596-B37D66D3BFED}"/>
          </ac:grpSpMkLst>
        </pc:grpChg>
        <pc:grpChg chg="del">
          <ac:chgData name="Lilith Pokorra" userId="29887f1b-b715-413d-8f68-9084865f2962" providerId="ADAL" clId="{651BA0CF-6CA2-4E34-A632-20A1A4DFFB9A}" dt="2024-05-29T13:21:57.369" v="22" actId="478"/>
          <ac:grpSpMkLst>
            <pc:docMk/>
            <pc:sldMk cId="3389584587" sldId="3342"/>
            <ac:grpSpMk id="20" creationId="{8A842117-083A-FCD5-5E3D-6009A95F065F}"/>
          </ac:grpSpMkLst>
        </pc:grpChg>
        <pc:picChg chg="mod modCrop">
          <ac:chgData name="Lilith Pokorra" userId="29887f1b-b715-413d-8f68-9084865f2962" providerId="ADAL" clId="{651BA0CF-6CA2-4E34-A632-20A1A4DFFB9A}" dt="2024-05-29T14:07:55.282" v="223" actId="732"/>
          <ac:picMkLst>
            <pc:docMk/>
            <pc:sldMk cId="3389584587" sldId="3342"/>
            <ac:picMk id="6" creationId="{D61238ED-D7C9-B028-6A30-AEC660F751F4}"/>
          </ac:picMkLst>
        </pc:picChg>
        <pc:picChg chg="add del mod">
          <ac:chgData name="Lilith Pokorra" userId="29887f1b-b715-413d-8f68-9084865f2962" providerId="ADAL" clId="{651BA0CF-6CA2-4E34-A632-20A1A4DFFB9A}" dt="2024-05-29T13:32:20.241" v="122" actId="478"/>
          <ac:picMkLst>
            <pc:docMk/>
            <pc:sldMk cId="3389584587" sldId="3342"/>
            <ac:picMk id="9" creationId="{1FD73D28-C3B6-1268-3157-B8825601DD28}"/>
          </ac:picMkLst>
        </pc:picChg>
        <pc:picChg chg="add mod">
          <ac:chgData name="Lilith Pokorra" userId="29887f1b-b715-413d-8f68-9084865f2962" providerId="ADAL" clId="{651BA0CF-6CA2-4E34-A632-20A1A4DFFB9A}" dt="2024-05-29T13:32:20.553" v="123"/>
          <ac:picMkLst>
            <pc:docMk/>
            <pc:sldMk cId="3389584587" sldId="3342"/>
            <ac:picMk id="22" creationId="{BEC079EF-E61D-DF07-0C72-ABD193EC0752}"/>
          </ac:picMkLst>
        </pc:picChg>
      </pc:sldChg>
      <pc:sldChg chg="addSp delSp modSp mod modTransition">
        <pc:chgData name="Lilith Pokorra" userId="29887f1b-b715-413d-8f68-9084865f2962" providerId="ADAL" clId="{651BA0CF-6CA2-4E34-A632-20A1A4DFFB9A}" dt="2024-05-29T14:08:32.578" v="224"/>
        <pc:sldMkLst>
          <pc:docMk/>
          <pc:sldMk cId="92897238" sldId="3343"/>
        </pc:sldMkLst>
        <pc:spChg chg="mod">
          <ac:chgData name="Lilith Pokorra" userId="29887f1b-b715-413d-8f68-9084865f2962" providerId="ADAL" clId="{651BA0CF-6CA2-4E34-A632-20A1A4DFFB9A}" dt="2024-05-29T13:22:08.972" v="29"/>
          <ac:spMkLst>
            <pc:docMk/>
            <pc:sldMk cId="92897238" sldId="3343"/>
            <ac:spMk id="7" creationId="{C95ED642-33E2-9F56-815C-3EF1508B247A}"/>
          </ac:spMkLst>
        </pc:spChg>
        <pc:spChg chg="mod">
          <ac:chgData name="Lilith Pokorra" userId="29887f1b-b715-413d-8f68-9084865f2962" providerId="ADAL" clId="{651BA0CF-6CA2-4E34-A632-20A1A4DFFB9A}" dt="2024-05-29T13:22:08.972" v="29"/>
          <ac:spMkLst>
            <pc:docMk/>
            <pc:sldMk cId="92897238" sldId="3343"/>
            <ac:spMk id="9" creationId="{426100C0-4B4D-ABCF-3A1E-044139859C0C}"/>
          </ac:spMkLst>
        </pc:spChg>
        <pc:spChg chg="mod">
          <ac:chgData name="Lilith Pokorra" userId="29887f1b-b715-413d-8f68-9084865f2962" providerId="ADAL" clId="{651BA0CF-6CA2-4E34-A632-20A1A4DFFB9A}" dt="2024-05-29T13:32:31.846" v="129"/>
          <ac:spMkLst>
            <pc:docMk/>
            <pc:sldMk cId="92897238" sldId="3343"/>
            <ac:spMk id="20" creationId="{4DA31BF0-8197-8831-3973-1AD8ACB841FF}"/>
          </ac:spMkLst>
        </pc:spChg>
        <pc:spChg chg="mod">
          <ac:chgData name="Lilith Pokorra" userId="29887f1b-b715-413d-8f68-9084865f2962" providerId="ADAL" clId="{651BA0CF-6CA2-4E34-A632-20A1A4DFFB9A}" dt="2024-05-29T13:32:31.846" v="129"/>
          <ac:spMkLst>
            <pc:docMk/>
            <pc:sldMk cId="92897238" sldId="3343"/>
            <ac:spMk id="21" creationId="{2FF4AF02-0792-C738-22DA-28EC0083CF97}"/>
          </ac:spMkLst>
        </pc:spChg>
        <pc:grpChg chg="add del mod">
          <ac:chgData name="Lilith Pokorra" userId="29887f1b-b715-413d-8f68-9084865f2962" providerId="ADAL" clId="{651BA0CF-6CA2-4E34-A632-20A1A4DFFB9A}" dt="2024-05-29T13:32:31.649" v="128" actId="478"/>
          <ac:grpSpMkLst>
            <pc:docMk/>
            <pc:sldMk cId="92897238" sldId="3343"/>
            <ac:grpSpMk id="5" creationId="{F912DB94-BF75-DE60-9BC6-B14589354CEA}"/>
          </ac:grpSpMkLst>
        </pc:grpChg>
        <pc:grpChg chg="add mod">
          <ac:chgData name="Lilith Pokorra" userId="29887f1b-b715-413d-8f68-9084865f2962" providerId="ADAL" clId="{651BA0CF-6CA2-4E34-A632-20A1A4DFFB9A}" dt="2024-05-29T13:32:31.846" v="129"/>
          <ac:grpSpMkLst>
            <pc:docMk/>
            <pc:sldMk cId="92897238" sldId="3343"/>
            <ac:grpSpMk id="19" creationId="{81019831-57DB-08BE-2715-59B4376CEDE5}"/>
          </ac:grpSpMkLst>
        </pc:grpChg>
        <pc:grpChg chg="del">
          <ac:chgData name="Lilith Pokorra" userId="29887f1b-b715-413d-8f68-9084865f2962" providerId="ADAL" clId="{651BA0CF-6CA2-4E34-A632-20A1A4DFFB9A}" dt="2024-05-29T13:22:08.761" v="28" actId="478"/>
          <ac:grpSpMkLst>
            <pc:docMk/>
            <pc:sldMk cId="92897238" sldId="3343"/>
            <ac:grpSpMk id="20" creationId="{8A842117-083A-FCD5-5E3D-6009A95F065F}"/>
          </ac:grpSpMkLst>
        </pc:grpChg>
        <pc:picChg chg="mod modCrop">
          <ac:chgData name="Lilith Pokorra" userId="29887f1b-b715-413d-8f68-9084865f2962" providerId="ADAL" clId="{651BA0CF-6CA2-4E34-A632-20A1A4DFFB9A}" dt="2024-05-29T14:07:37.444" v="222" actId="732"/>
          <ac:picMkLst>
            <pc:docMk/>
            <pc:sldMk cId="92897238" sldId="3343"/>
            <ac:picMk id="6" creationId="{D61238ED-D7C9-B028-6A30-AEC660F751F4}"/>
          </ac:picMkLst>
        </pc:picChg>
        <pc:picChg chg="add del mod">
          <ac:chgData name="Lilith Pokorra" userId="29887f1b-b715-413d-8f68-9084865f2962" providerId="ADAL" clId="{651BA0CF-6CA2-4E34-A632-20A1A4DFFB9A}" dt="2024-05-29T13:32:31.649" v="128" actId="478"/>
          <ac:picMkLst>
            <pc:docMk/>
            <pc:sldMk cId="92897238" sldId="3343"/>
            <ac:picMk id="10" creationId="{800D70E3-0651-041F-089C-692D1975D5F8}"/>
          </ac:picMkLst>
        </pc:picChg>
        <pc:picChg chg="add mod">
          <ac:chgData name="Lilith Pokorra" userId="29887f1b-b715-413d-8f68-9084865f2962" providerId="ADAL" clId="{651BA0CF-6CA2-4E34-A632-20A1A4DFFB9A}" dt="2024-05-29T13:32:31.846" v="129"/>
          <ac:picMkLst>
            <pc:docMk/>
            <pc:sldMk cId="92897238" sldId="3343"/>
            <ac:picMk id="22" creationId="{0D0D7789-9A58-9F41-F5FE-252A4EE31C72}"/>
          </ac:picMkLst>
        </pc:picChg>
      </pc:sldChg>
      <pc:sldChg chg="addSp delSp modSp mod modNotesTx">
        <pc:chgData name="Lilith Pokorra" userId="29887f1b-b715-413d-8f68-9084865f2962" providerId="ADAL" clId="{651BA0CF-6CA2-4E34-A632-20A1A4DFFB9A}" dt="2024-06-05T11:44:54.752" v="864" actId="20577"/>
        <pc:sldMkLst>
          <pc:docMk/>
          <pc:sldMk cId="1921700899" sldId="3344"/>
        </pc:sldMkLst>
        <pc:spChg chg="mod">
          <ac:chgData name="Lilith Pokorra" userId="29887f1b-b715-413d-8f68-9084865f2962" providerId="ADAL" clId="{651BA0CF-6CA2-4E34-A632-20A1A4DFFB9A}" dt="2024-05-29T13:22:46.083" v="44"/>
          <ac:spMkLst>
            <pc:docMk/>
            <pc:sldMk cId="1921700899" sldId="3344"/>
            <ac:spMk id="5" creationId="{E4BB73AC-752D-65F2-B937-B553888B632C}"/>
          </ac:spMkLst>
        </pc:spChg>
        <pc:spChg chg="mod">
          <ac:chgData name="Lilith Pokorra" userId="29887f1b-b715-413d-8f68-9084865f2962" providerId="ADAL" clId="{651BA0CF-6CA2-4E34-A632-20A1A4DFFB9A}" dt="2024-05-29T13:22:46.083" v="44"/>
          <ac:spMkLst>
            <pc:docMk/>
            <pc:sldMk cId="1921700899" sldId="3344"/>
            <ac:spMk id="6" creationId="{DACAECCB-A176-27A7-7D77-04EC07372695}"/>
          </ac:spMkLst>
        </pc:spChg>
        <pc:spChg chg="mod">
          <ac:chgData name="Lilith Pokorra" userId="29887f1b-b715-413d-8f68-9084865f2962" providerId="ADAL" clId="{651BA0CF-6CA2-4E34-A632-20A1A4DFFB9A}" dt="2024-05-29T13:32:59.260" v="143"/>
          <ac:spMkLst>
            <pc:docMk/>
            <pc:sldMk cId="1921700899" sldId="3344"/>
            <ac:spMk id="8" creationId="{3FB876DC-B73B-914C-E215-731B73B4219E}"/>
          </ac:spMkLst>
        </pc:spChg>
        <pc:spChg chg="mod">
          <ac:chgData name="Lilith Pokorra" userId="29887f1b-b715-413d-8f68-9084865f2962" providerId="ADAL" clId="{651BA0CF-6CA2-4E34-A632-20A1A4DFFB9A}" dt="2024-05-29T13:33:07.336" v="145" actId="403"/>
          <ac:spMkLst>
            <pc:docMk/>
            <pc:sldMk cId="1921700899" sldId="3344"/>
            <ac:spMk id="9" creationId="{FC141650-1049-987F-0885-A4FBA9FA4582}"/>
          </ac:spMkLst>
        </pc:spChg>
        <pc:spChg chg="mod">
          <ac:chgData name="Lilith Pokorra" userId="29887f1b-b715-413d-8f68-9084865f2962" providerId="ADAL" clId="{651BA0CF-6CA2-4E34-A632-20A1A4DFFB9A}" dt="2024-06-05T11:44:54.752" v="864" actId="20577"/>
          <ac:spMkLst>
            <pc:docMk/>
            <pc:sldMk cId="1921700899" sldId="3344"/>
            <ac:spMk id="22" creationId="{1C8704F8-EE9A-FFE6-EFD6-FB5721E73E5C}"/>
          </ac:spMkLst>
        </pc:spChg>
        <pc:grpChg chg="add del mod">
          <ac:chgData name="Lilith Pokorra" userId="29887f1b-b715-413d-8f68-9084865f2962" providerId="ADAL" clId="{651BA0CF-6CA2-4E34-A632-20A1A4DFFB9A}" dt="2024-05-29T13:32:59.074" v="142" actId="478"/>
          <ac:grpSpMkLst>
            <pc:docMk/>
            <pc:sldMk cId="1921700899" sldId="3344"/>
            <ac:grpSpMk id="2" creationId="{6D28F661-071B-EAB7-F3C6-4392A328C7D4}"/>
          </ac:grpSpMkLst>
        </pc:grpChg>
        <pc:grpChg chg="del">
          <ac:chgData name="Lilith Pokorra" userId="29887f1b-b715-413d-8f68-9084865f2962" providerId="ADAL" clId="{651BA0CF-6CA2-4E34-A632-20A1A4DFFB9A}" dt="2024-05-29T13:22:49.385" v="45" actId="478"/>
          <ac:grpSpMkLst>
            <pc:docMk/>
            <pc:sldMk cId="1921700899" sldId="3344"/>
            <ac:grpSpMk id="3" creationId="{E31E8C12-31EC-62EB-F3B8-8A866BB76D2A}"/>
          </ac:grpSpMkLst>
        </pc:grpChg>
        <pc:grpChg chg="add mod">
          <ac:chgData name="Lilith Pokorra" userId="29887f1b-b715-413d-8f68-9084865f2962" providerId="ADAL" clId="{651BA0CF-6CA2-4E34-A632-20A1A4DFFB9A}" dt="2024-05-29T13:32:59.260" v="143"/>
          <ac:grpSpMkLst>
            <pc:docMk/>
            <pc:sldMk cId="1921700899" sldId="3344"/>
            <ac:grpSpMk id="3" creationId="{F1BC7D87-9333-FF0A-88E4-3D2A7FF3995E}"/>
          </ac:grpSpMkLst>
        </pc:grpChg>
        <pc:picChg chg="add del mod">
          <ac:chgData name="Lilith Pokorra" userId="29887f1b-b715-413d-8f68-9084865f2962" providerId="ADAL" clId="{651BA0CF-6CA2-4E34-A632-20A1A4DFFB9A}" dt="2024-05-29T13:32:59.074" v="142" actId="478"/>
          <ac:picMkLst>
            <pc:docMk/>
            <pc:sldMk cId="1921700899" sldId="3344"/>
            <ac:picMk id="7" creationId="{26DEF4D4-E89B-A958-B3C4-6CA026A6A5F2}"/>
          </ac:picMkLst>
        </pc:picChg>
        <pc:picChg chg="add mod">
          <ac:chgData name="Lilith Pokorra" userId="29887f1b-b715-413d-8f68-9084865f2962" providerId="ADAL" clId="{651BA0CF-6CA2-4E34-A632-20A1A4DFFB9A}" dt="2024-05-29T13:32:59.260" v="143"/>
          <ac:picMkLst>
            <pc:docMk/>
            <pc:sldMk cId="1921700899" sldId="3344"/>
            <ac:picMk id="10" creationId="{654F1269-4F6A-78ED-0E03-F6DC07C0D6C7}"/>
          </ac:picMkLst>
        </pc:picChg>
        <pc:picChg chg="mod modCrop">
          <ac:chgData name="Lilith Pokorra" userId="29887f1b-b715-413d-8f68-9084865f2962" providerId="ADAL" clId="{651BA0CF-6CA2-4E34-A632-20A1A4DFFB9A}" dt="2024-06-05T11:35:39.058" v="402" actId="1076"/>
          <ac:picMkLst>
            <pc:docMk/>
            <pc:sldMk cId="1921700899" sldId="3344"/>
            <ac:picMk id="17" creationId="{BF1E8A2C-1DA6-83BF-2D11-C7A4F952F74A}"/>
          </ac:picMkLst>
        </pc:picChg>
        <pc:picChg chg="del">
          <ac:chgData name="Lilith Pokorra" userId="29887f1b-b715-413d-8f68-9084865f2962" providerId="ADAL" clId="{651BA0CF-6CA2-4E34-A632-20A1A4DFFB9A}" dt="2024-06-05T11:35:20.759" v="397" actId="478"/>
          <ac:picMkLst>
            <pc:docMk/>
            <pc:sldMk cId="1921700899" sldId="3344"/>
            <ac:picMk id="19" creationId="{CD5E728A-A338-95EB-5359-7BE871022FF2}"/>
          </ac:picMkLst>
        </pc:picChg>
      </pc:sldChg>
      <pc:sldChg chg="addSp delSp modSp add del mod ord">
        <pc:chgData name="Lilith Pokorra" userId="29887f1b-b715-413d-8f68-9084865f2962" providerId="ADAL" clId="{651BA0CF-6CA2-4E34-A632-20A1A4DFFB9A}" dt="2024-06-05T12:27:06.101" v="890" actId="2696"/>
        <pc:sldMkLst>
          <pc:docMk/>
          <pc:sldMk cId="1982797892" sldId="3345"/>
        </pc:sldMkLst>
        <pc:spChg chg="add mod">
          <ac:chgData name="Lilith Pokorra" userId="29887f1b-b715-413d-8f68-9084865f2962" providerId="ADAL" clId="{651BA0CF-6CA2-4E34-A632-20A1A4DFFB9A}" dt="2024-06-05T11:11:33.941" v="235"/>
          <ac:spMkLst>
            <pc:docMk/>
            <pc:sldMk cId="1982797892" sldId="3345"/>
            <ac:spMk id="2" creationId="{BBC579BC-D78F-2687-675E-04A64866B8B8}"/>
          </ac:spMkLst>
        </pc:spChg>
        <pc:spChg chg="mod">
          <ac:chgData name="Lilith Pokorra" userId="29887f1b-b715-413d-8f68-9084865f2962" providerId="ADAL" clId="{651BA0CF-6CA2-4E34-A632-20A1A4DFFB9A}" dt="2024-06-05T11:10:49.038" v="228" actId="20577"/>
          <ac:spMkLst>
            <pc:docMk/>
            <pc:sldMk cId="1982797892" sldId="3345"/>
            <ac:spMk id="4" creationId="{FFA523F9-7D99-D0AB-7D5D-FB7B1405BB31}"/>
          </ac:spMkLst>
        </pc:spChg>
        <pc:spChg chg="del mod">
          <ac:chgData name="Lilith Pokorra" userId="29887f1b-b715-413d-8f68-9084865f2962" providerId="ADAL" clId="{651BA0CF-6CA2-4E34-A632-20A1A4DFFB9A}" dt="2024-06-05T11:11:33.758" v="234" actId="478"/>
          <ac:spMkLst>
            <pc:docMk/>
            <pc:sldMk cId="1982797892" sldId="3345"/>
            <ac:spMk id="9" creationId="{A1C6E673-491F-7DC5-22A8-759BE865EACB}"/>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latin typeface="Calibri Normal" charset="0"/>
            </a:endParaRPr>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3C42287-BBCD-194E-8FCC-4BC0753B332B}" type="datetimeFigureOut">
              <a:rPr lang="de-DE" smtClean="0">
                <a:latin typeface="Calibri Normal" charset="0"/>
              </a:rPr>
              <a:pPr/>
              <a:t>14.06.24</a:t>
            </a:fld>
            <a:endParaRPr lang="de-DE">
              <a:latin typeface="Calibri Normal" charset="0"/>
            </a:endParaRPr>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latin typeface="Calibri Normal" charset="0"/>
            </a:endParaRPr>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602F6D5D-152F-9C4D-8D9D-F0D4C7E2218B}" type="slidenum">
              <a:rPr lang="de-DE" smtClean="0">
                <a:latin typeface="Calibri Normal" charset="0"/>
              </a:rPr>
              <a:pPr/>
              <a:t>‹Nr.›</a:t>
            </a:fld>
            <a:endParaRPr lang="de-DE">
              <a:latin typeface="Calibri Normal" charset="0"/>
            </a:endParaRPr>
          </a:p>
        </p:txBody>
      </p:sp>
    </p:spTree>
    <p:extLst>
      <p:ext uri="{BB962C8B-B14F-4D97-AF65-F5344CB8AC3E}">
        <p14:creationId xmlns:p14="http://schemas.microsoft.com/office/powerpoint/2010/main" val="46940265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Rectangle 2"/>
          <p:cNvSpPr>
            <a:spLocks noGrp="1" noChangeArrowheads="1"/>
          </p:cNvSpPr>
          <p:nvPr>
            <p:ph type="hdr" sz="quarter"/>
          </p:nvPr>
        </p:nvSpPr>
        <p:spPr bwMode="auto">
          <a:xfrm>
            <a:off x="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defRPr sz="1200" b="0" i="0">
                <a:latin typeface="Calibri Normal" charset="0"/>
              </a:defRPr>
            </a:lvl1pPr>
          </a:lstStyle>
          <a:p>
            <a:endParaRPr lang="de-DE"/>
          </a:p>
        </p:txBody>
      </p:sp>
      <p:sp>
        <p:nvSpPr>
          <p:cNvPr id="10243" name="Rectangle 3"/>
          <p:cNvSpPr>
            <a:spLocks noGrp="1" noChangeArrowheads="1"/>
          </p:cNvSpPr>
          <p:nvPr>
            <p:ph type="dt" idx="1"/>
          </p:nvPr>
        </p:nvSpPr>
        <p:spPr bwMode="auto">
          <a:xfrm>
            <a:off x="3886200" y="0"/>
            <a:ext cx="2971800"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b="0" i="0">
                <a:latin typeface="Calibri Normal" charset="0"/>
              </a:defRPr>
            </a:lvl1pPr>
          </a:lstStyle>
          <a:p>
            <a:endParaRPr lang="de-DE"/>
          </a:p>
        </p:txBody>
      </p:sp>
      <p:sp>
        <p:nvSpPr>
          <p:cNvPr id="10244"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p:spPr>
      </p:sp>
      <p:sp>
        <p:nvSpPr>
          <p:cNvPr id="10245" name="Rectangle 5"/>
          <p:cNvSpPr>
            <a:spLocks noGrp="1" noChangeArrowheads="1"/>
          </p:cNvSpPr>
          <p:nvPr>
            <p:ph type="body" sz="quarter" idx="3"/>
          </p:nvPr>
        </p:nvSpPr>
        <p:spPr bwMode="auto">
          <a:xfrm>
            <a:off x="914400" y="4343400"/>
            <a:ext cx="50292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0246" name="Rectangle 6"/>
          <p:cNvSpPr>
            <a:spLocks noGrp="1" noChangeArrowheads="1"/>
          </p:cNvSpPr>
          <p:nvPr>
            <p:ph type="ftr" sz="quarter" idx="4"/>
          </p:nvPr>
        </p:nvSpPr>
        <p:spPr bwMode="auto">
          <a:xfrm>
            <a:off x="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defRPr sz="1200" b="0" i="0">
                <a:latin typeface="Calibri Normal" charset="0"/>
              </a:defRPr>
            </a:lvl1pPr>
          </a:lstStyle>
          <a:p>
            <a:endParaRPr lang="de-DE"/>
          </a:p>
        </p:txBody>
      </p:sp>
      <p:sp>
        <p:nvSpPr>
          <p:cNvPr id="10247" name="Rectangle 7"/>
          <p:cNvSpPr>
            <a:spLocks noGrp="1" noChangeArrowheads="1"/>
          </p:cNvSpPr>
          <p:nvPr>
            <p:ph type="sldNum" sz="quarter" idx="5"/>
          </p:nvPr>
        </p:nvSpPr>
        <p:spPr bwMode="auto">
          <a:xfrm>
            <a:off x="3886200" y="8686800"/>
            <a:ext cx="2971800" cy="4572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defRPr sz="1200" b="0" i="0">
                <a:latin typeface="Calibri Normal" charset="0"/>
              </a:defRPr>
            </a:lvl1pPr>
          </a:lstStyle>
          <a:p>
            <a:fld id="{FAF12454-57A3-5346-8AD1-8A7E704F94A5}" type="slidenum">
              <a:rPr lang="de-DE" smtClean="0"/>
              <a:pPr/>
              <a:t>‹Nr.›</a:t>
            </a:fld>
            <a:endParaRPr lang="de-DE"/>
          </a:p>
        </p:txBody>
      </p:sp>
    </p:spTree>
    <p:extLst>
      <p:ext uri="{BB962C8B-B14F-4D97-AF65-F5344CB8AC3E}">
        <p14:creationId xmlns:p14="http://schemas.microsoft.com/office/powerpoint/2010/main" val="2294540302"/>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b="0" i="0" kern="1200">
        <a:solidFill>
          <a:schemeClr val="tx1"/>
        </a:solidFill>
        <a:latin typeface="Calibri Normal" charset="0"/>
        <a:ea typeface="ＭＳ Ｐゴシック" charset="-128"/>
        <a:cs typeface="ＭＳ Ｐゴシック" charset="-128"/>
      </a:defRPr>
    </a:lvl1pPr>
    <a:lvl2pPr marL="457200" algn="l" rtl="0" fontAlgn="base">
      <a:spcBef>
        <a:spcPct val="30000"/>
      </a:spcBef>
      <a:spcAft>
        <a:spcPct val="0"/>
      </a:spcAft>
      <a:defRPr sz="1200" b="0" i="0" kern="1200">
        <a:solidFill>
          <a:schemeClr val="tx1"/>
        </a:solidFill>
        <a:latin typeface="Calibri Normal" charset="0"/>
        <a:ea typeface="ＭＳ Ｐゴシック" charset="-128"/>
        <a:cs typeface="+mn-cs"/>
      </a:defRPr>
    </a:lvl2pPr>
    <a:lvl3pPr marL="914400" algn="l" rtl="0" fontAlgn="base">
      <a:spcBef>
        <a:spcPct val="30000"/>
      </a:spcBef>
      <a:spcAft>
        <a:spcPct val="0"/>
      </a:spcAft>
      <a:defRPr sz="1200" b="0" i="0" kern="1200">
        <a:solidFill>
          <a:schemeClr val="tx1"/>
        </a:solidFill>
        <a:latin typeface="Calibri Normal" charset="0"/>
        <a:ea typeface="ＭＳ Ｐゴシック" charset="-128"/>
        <a:cs typeface="+mn-cs"/>
      </a:defRPr>
    </a:lvl3pPr>
    <a:lvl4pPr marL="1371600" algn="l" rtl="0" fontAlgn="base">
      <a:spcBef>
        <a:spcPct val="30000"/>
      </a:spcBef>
      <a:spcAft>
        <a:spcPct val="0"/>
      </a:spcAft>
      <a:defRPr sz="1200" b="0" i="0" kern="1200">
        <a:solidFill>
          <a:schemeClr val="tx1"/>
        </a:solidFill>
        <a:latin typeface="Calibri Normal" charset="0"/>
        <a:ea typeface="ＭＳ Ｐゴシック" charset="-128"/>
        <a:cs typeface="+mn-cs"/>
      </a:defRPr>
    </a:lvl4pPr>
    <a:lvl5pPr marL="1828800" algn="l" rtl="0" fontAlgn="base">
      <a:spcBef>
        <a:spcPct val="30000"/>
      </a:spcBef>
      <a:spcAft>
        <a:spcPct val="0"/>
      </a:spcAft>
      <a:defRPr sz="1200" b="0" i="0" kern="1200">
        <a:solidFill>
          <a:schemeClr val="tx1"/>
        </a:solidFill>
        <a:latin typeface="Calibri Normal" charset="0"/>
        <a:ea typeface="ＭＳ Ｐゴシック"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u="sng"/>
          </a:p>
        </p:txBody>
      </p:sp>
      <p:sp>
        <p:nvSpPr>
          <p:cNvPr id="4" name="Foliennummernplatzhalter 3"/>
          <p:cNvSpPr>
            <a:spLocks noGrp="1"/>
          </p:cNvSpPr>
          <p:nvPr>
            <p:ph type="sldNum" sz="quarter" idx="5"/>
          </p:nvPr>
        </p:nvSpPr>
        <p:spPr/>
        <p:txBody>
          <a:bodyPr/>
          <a:lstStyle/>
          <a:p>
            <a:fld id="{FAF12454-57A3-5346-8AD1-8A7E704F94A5}" type="slidenum">
              <a:rPr lang="de-DE" smtClean="0"/>
              <a:pPr/>
              <a:t>1</a:t>
            </a:fld>
            <a:endParaRPr lang="de-DE"/>
          </a:p>
        </p:txBody>
      </p:sp>
    </p:spTree>
    <p:extLst>
      <p:ext uri="{BB962C8B-B14F-4D97-AF65-F5344CB8AC3E}">
        <p14:creationId xmlns:p14="http://schemas.microsoft.com/office/powerpoint/2010/main" val="17794888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marR="0" lvl="0" indent="-342900" algn="l" defTabSz="914400" rtl="0" eaLnBrk="1" fontAlgn="base" latinLnBrk="0" hangingPunct="1">
              <a:lnSpc>
                <a:spcPct val="100000"/>
              </a:lnSpc>
              <a:spcBef>
                <a:spcPts val="400"/>
              </a:spcBef>
              <a:spcAft>
                <a:spcPct val="0"/>
              </a:spcAft>
              <a:buClrTx/>
              <a:buSzTx/>
              <a:buFontTx/>
              <a:buNone/>
              <a:tabLst/>
              <a:defRPr/>
            </a:pPr>
            <a:r>
              <a:rPr lang="de-DE" sz="1200">
                <a:latin typeface="Calibri"/>
                <a:cs typeface="Calibri"/>
              </a:rPr>
              <a:t>Optionale Folie um über einzelne Aufgaben gemeinsam sprechen zu können. </a:t>
            </a:r>
          </a:p>
          <a:p>
            <a:pPr marL="342900" indent="-342900">
              <a:spcBef>
                <a:spcPts val="400"/>
              </a:spcBef>
            </a:pPr>
            <a:endParaRPr lang="de-DE" sz="120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a:p>
        </p:txBody>
      </p:sp>
      <p:sp>
        <p:nvSpPr>
          <p:cNvPr id="4" name="Foliennummernplatzhalter 3"/>
          <p:cNvSpPr>
            <a:spLocks noGrp="1"/>
          </p:cNvSpPr>
          <p:nvPr>
            <p:ph type="sldNum" sz="quarter" idx="5"/>
          </p:nvPr>
        </p:nvSpPr>
        <p:spPr/>
        <p:txBody>
          <a:bodyPr/>
          <a:lstStyle/>
          <a:p>
            <a:fld id="{FAF12454-57A3-5346-8AD1-8A7E704F94A5}" type="slidenum">
              <a:rPr lang="de-DE" smtClean="0"/>
              <a:pPr/>
              <a:t>12</a:t>
            </a:fld>
            <a:endParaRPr lang="de-DE"/>
          </a:p>
        </p:txBody>
      </p:sp>
    </p:spTree>
    <p:extLst>
      <p:ext uri="{BB962C8B-B14F-4D97-AF65-F5344CB8AC3E}">
        <p14:creationId xmlns:p14="http://schemas.microsoft.com/office/powerpoint/2010/main" val="42063215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AF12454-57A3-5346-8AD1-8A7E704F94A5}" type="slidenum">
              <a:rPr lang="de-DE" smtClean="0"/>
              <a:pPr/>
              <a:t>13</a:t>
            </a:fld>
            <a:endParaRPr lang="de-DE"/>
          </a:p>
        </p:txBody>
      </p:sp>
    </p:spTree>
    <p:extLst>
      <p:ext uri="{BB962C8B-B14F-4D97-AF65-F5344CB8AC3E}">
        <p14:creationId xmlns:p14="http://schemas.microsoft.com/office/powerpoint/2010/main" val="155285076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spcBef>
                <a:spcPts val="400"/>
              </a:spcBef>
            </a:pPr>
            <a:endParaRPr lang="de-DE" sz="120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a:p>
        </p:txBody>
      </p:sp>
      <p:sp>
        <p:nvSpPr>
          <p:cNvPr id="4" name="Foliennummernplatzhalter 3"/>
          <p:cNvSpPr>
            <a:spLocks noGrp="1"/>
          </p:cNvSpPr>
          <p:nvPr>
            <p:ph type="sldNum" sz="quarter" idx="5"/>
          </p:nvPr>
        </p:nvSpPr>
        <p:spPr/>
        <p:txBody>
          <a:bodyPr/>
          <a:lstStyle/>
          <a:p>
            <a:fld id="{FAF12454-57A3-5346-8AD1-8A7E704F94A5}" type="slidenum">
              <a:rPr lang="de-DE" smtClean="0"/>
              <a:pPr/>
              <a:t>14</a:t>
            </a:fld>
            <a:endParaRPr lang="de-DE"/>
          </a:p>
        </p:txBody>
      </p:sp>
    </p:spTree>
    <p:extLst>
      <p:ext uri="{BB962C8B-B14F-4D97-AF65-F5344CB8AC3E}">
        <p14:creationId xmlns:p14="http://schemas.microsoft.com/office/powerpoint/2010/main" val="24819759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spcBef>
                <a:spcPts val="400"/>
              </a:spcBef>
            </a:pPr>
            <a:endParaRPr lang="de-DE" sz="120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a:p>
        </p:txBody>
      </p:sp>
      <p:sp>
        <p:nvSpPr>
          <p:cNvPr id="4" name="Foliennummernplatzhalter 3"/>
          <p:cNvSpPr>
            <a:spLocks noGrp="1"/>
          </p:cNvSpPr>
          <p:nvPr>
            <p:ph type="sldNum" sz="quarter" idx="5"/>
          </p:nvPr>
        </p:nvSpPr>
        <p:spPr/>
        <p:txBody>
          <a:bodyPr/>
          <a:lstStyle/>
          <a:p>
            <a:fld id="{FAF12454-57A3-5346-8AD1-8A7E704F94A5}" type="slidenum">
              <a:rPr lang="de-DE" smtClean="0"/>
              <a:pPr/>
              <a:t>15</a:t>
            </a:fld>
            <a:endParaRPr lang="de-DE"/>
          </a:p>
        </p:txBody>
      </p:sp>
    </p:spTree>
    <p:extLst>
      <p:ext uri="{BB962C8B-B14F-4D97-AF65-F5344CB8AC3E}">
        <p14:creationId xmlns:p14="http://schemas.microsoft.com/office/powerpoint/2010/main" val="119966819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342900" indent="-342900">
              <a:spcBef>
                <a:spcPts val="400"/>
              </a:spcBef>
            </a:pPr>
            <a:r>
              <a:rPr lang="de-DE" sz="1200">
                <a:latin typeface="Calibri"/>
                <a:cs typeface="Calibri"/>
              </a:rPr>
              <a:t>Anhand der Folie kann exemplarisch Einblick in die Handreichung zur diagnosegeleiten Förderung gegeben werden. </a:t>
            </a:r>
          </a:p>
          <a:p>
            <a:pPr algn="just">
              <a:lnSpc>
                <a:spcPct val="115000"/>
              </a:lnSpc>
            </a:pPr>
            <a:r>
              <a:rPr lang="de-DE" sz="1200">
                <a:solidFill>
                  <a:srgbClr val="222222"/>
                </a:solidFill>
                <a:effectLst/>
                <a:latin typeface="Calibri" panose="020F0502020204030204" pitchFamily="34" charset="0"/>
                <a:ea typeface="Times New Roman" panose="02020603050405020304" pitchFamily="18" charset="0"/>
              </a:rPr>
              <a:t>Die Handreichung ist nach den neun ausgewählten Basiskompetenzen gegliedert. Passend zur jeder Basiskompetenz umfassen die Förderanregungen: </a:t>
            </a:r>
            <a:endParaRPr lang="de-DE" sz="1200">
              <a:effectLst/>
              <a:latin typeface="Times New Roman" panose="02020603050405020304" pitchFamily="18" charset="0"/>
              <a:ea typeface="Times New Roman" panose="02020603050405020304" pitchFamily="18" charset="0"/>
            </a:endParaRPr>
          </a:p>
          <a:p>
            <a:pPr marL="171450" indent="-171450">
              <a:lnSpc>
                <a:spcPct val="115000"/>
              </a:lnSpc>
              <a:buFont typeface="Arial" panose="020B0604020202020204" pitchFamily="34" charset="0"/>
              <a:buChar char="•"/>
            </a:pPr>
            <a:r>
              <a:rPr lang="de-DE" sz="1200">
                <a:solidFill>
                  <a:srgbClr val="222222"/>
                </a:solidFill>
                <a:effectLst/>
                <a:latin typeface="Calibri" panose="020F0502020204030204" pitchFamily="34" charset="0"/>
                <a:ea typeface="Times New Roman" panose="02020603050405020304" pitchFamily="18" charset="0"/>
              </a:rPr>
              <a:t>Thematisch passendes Lernvideo für die Schülerinnen und Schüler (stellenweise auch Lehrer-Video)</a:t>
            </a:r>
            <a:endParaRPr lang="de-DE" sz="1200">
              <a:solidFill>
                <a:schemeClr val="tx1"/>
              </a:solidFill>
              <a:effectLst/>
              <a:latin typeface="Times New Roman" panose="02020603050405020304" pitchFamily="18" charset="0"/>
              <a:ea typeface="Times New Roman" panose="02020603050405020304" pitchFamily="18" charset="0"/>
            </a:endParaRPr>
          </a:p>
          <a:p>
            <a:pPr marL="171450" indent="-171450">
              <a:lnSpc>
                <a:spcPct val="115000"/>
              </a:lnSpc>
              <a:buFont typeface="Arial" panose="020B0604020202020204" pitchFamily="34" charset="0"/>
              <a:buChar char="•"/>
            </a:pPr>
            <a:r>
              <a:rPr lang="de-DE" sz="1200">
                <a:solidFill>
                  <a:srgbClr val="222222"/>
                </a:solidFill>
                <a:effectLst/>
                <a:latin typeface="Calibri" panose="020F0502020204030204" pitchFamily="34" charset="0"/>
                <a:ea typeface="Times New Roman" panose="02020603050405020304" pitchFamily="18" charset="0"/>
              </a:rPr>
              <a:t>Hinweis auf geeignetes Material zur Veranschaulichung und ausgewählte Übungsaufgaben</a:t>
            </a:r>
            <a:endParaRPr lang="de-DE" sz="1200">
              <a:solidFill>
                <a:schemeClr val="tx1"/>
              </a:solidFill>
              <a:effectLst/>
              <a:latin typeface="Times New Roman" panose="02020603050405020304" pitchFamily="18" charset="0"/>
              <a:ea typeface="Times New Roman" panose="02020603050405020304" pitchFamily="18" charset="0"/>
            </a:endParaRPr>
          </a:p>
          <a:p>
            <a:pPr marL="171450" indent="-171450">
              <a:lnSpc>
                <a:spcPct val="115000"/>
              </a:lnSpc>
              <a:buFont typeface="Arial" panose="020B0604020202020204" pitchFamily="34" charset="0"/>
              <a:buChar char="•"/>
            </a:pPr>
            <a:r>
              <a:rPr lang="de-DE" sz="1200">
                <a:solidFill>
                  <a:srgbClr val="222222"/>
                </a:solidFill>
                <a:effectLst/>
                <a:latin typeface="Calibri" panose="020F0502020204030204" pitchFamily="34" charset="0"/>
                <a:ea typeface="Times New Roman" panose="02020603050405020304" pitchFamily="18" charset="0"/>
              </a:rPr>
              <a:t>Hinweis auf weiterführendes Material  </a:t>
            </a:r>
            <a:endParaRPr lang="de-DE" sz="1200">
              <a:effectLst/>
              <a:latin typeface="Times New Roman" panose="02020603050405020304" pitchFamily="18" charset="0"/>
              <a:ea typeface="Times New Roman" panose="02020603050405020304" pitchFamily="18" charset="0"/>
            </a:endParaRPr>
          </a:p>
          <a:p>
            <a:pPr>
              <a:lnSpc>
                <a:spcPct val="115000"/>
              </a:lnSpc>
            </a:pPr>
            <a:r>
              <a:rPr lang="de-DE" sz="1800">
                <a:solidFill>
                  <a:srgbClr val="222222"/>
                </a:solidFill>
                <a:effectLst/>
                <a:latin typeface="Calibri" panose="020F0502020204030204" pitchFamily="34" charset="0"/>
                <a:ea typeface="Times New Roman" panose="02020603050405020304" pitchFamily="18" charset="0"/>
              </a:rPr>
              <a:t> </a:t>
            </a:r>
            <a:endParaRPr lang="de-DE" sz="1800">
              <a:effectLst/>
              <a:latin typeface="Times New Roman" panose="02020603050405020304" pitchFamily="18" charset="0"/>
              <a:ea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a:p>
        </p:txBody>
      </p:sp>
      <p:sp>
        <p:nvSpPr>
          <p:cNvPr id="4" name="Foliennummernplatzhalter 3"/>
          <p:cNvSpPr>
            <a:spLocks noGrp="1"/>
          </p:cNvSpPr>
          <p:nvPr>
            <p:ph type="sldNum" sz="quarter" idx="5"/>
          </p:nvPr>
        </p:nvSpPr>
        <p:spPr/>
        <p:txBody>
          <a:bodyPr/>
          <a:lstStyle/>
          <a:p>
            <a:fld id="{FAF12454-57A3-5346-8AD1-8A7E704F94A5}" type="slidenum">
              <a:rPr lang="de-DE" smtClean="0"/>
              <a:pPr/>
              <a:t>16</a:t>
            </a:fld>
            <a:endParaRPr lang="de-DE"/>
          </a:p>
        </p:txBody>
      </p:sp>
    </p:spTree>
    <p:extLst>
      <p:ext uri="{BB962C8B-B14F-4D97-AF65-F5344CB8AC3E}">
        <p14:creationId xmlns:p14="http://schemas.microsoft.com/office/powerpoint/2010/main" val="2238856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dirty="0"/>
              <a:t>Im Sinne der Durchgängigkeit </a:t>
            </a:r>
            <a:r>
              <a:rPr lang="de-DE" sz="1800" dirty="0">
                <a:effectLst/>
                <a:latin typeface="Calibri" panose="020F0502020204030204" pitchFamily="34" charset="0"/>
              </a:rPr>
              <a:t>finde sich auf</a:t>
            </a:r>
            <a:r>
              <a:rPr lang="de-DE" sz="1800" dirty="0">
                <a:effectLst/>
                <a:latin typeface="Calibri" panose="020F0502020204030204" pitchFamily="34" charset="0"/>
                <a:ea typeface="Calibri" panose="020F0502020204030204" pitchFamily="34" charset="0"/>
              </a:rPr>
              <a:t> </a:t>
            </a:r>
            <a:r>
              <a:rPr lang="de-DE" sz="1800">
                <a:effectLst/>
                <a:latin typeface="Calibri" panose="020F0502020204030204" pitchFamily="34" charset="0"/>
                <a:ea typeface="Calibri" panose="020F0502020204030204" pitchFamily="34" charset="0"/>
              </a:rPr>
              <a:t>PIKAS strukturgleiche </a:t>
            </a:r>
            <a:r>
              <a:rPr lang="de-DE" sz="1800" dirty="0">
                <a:effectLst/>
                <a:latin typeface="Calibri" panose="020F0502020204030204" pitchFamily="34" charset="0"/>
                <a:ea typeface="Calibri" panose="020F0502020204030204" pitchFamily="34" charset="0"/>
              </a:rPr>
              <a:t>Standortbestimmungen zu den neun Basiskompetenzen zum Zahlverständnis für die Klassen 3 und 4 (https://</a:t>
            </a:r>
            <a:r>
              <a:rPr lang="de-DE" sz="1800" dirty="0" err="1">
                <a:effectLst/>
                <a:latin typeface="Calibri" panose="020F0502020204030204" pitchFamily="34" charset="0"/>
                <a:ea typeface="Calibri" panose="020F0502020204030204" pitchFamily="34" charset="0"/>
              </a:rPr>
              <a:t>pikas.dzlm.de</a:t>
            </a:r>
            <a:r>
              <a:rPr lang="de-DE" sz="1800" dirty="0">
                <a:effectLst/>
                <a:latin typeface="Calibri" panose="020F0502020204030204" pitchFamily="34" charset="0"/>
                <a:ea typeface="Calibri" panose="020F0502020204030204" pitchFamily="34" charset="0"/>
              </a:rPr>
              <a:t>/</a:t>
            </a:r>
            <a:r>
              <a:rPr lang="de-DE" sz="1800" dirty="0" err="1">
                <a:effectLst/>
                <a:latin typeface="Calibri" panose="020F0502020204030204" pitchFamily="34" charset="0"/>
                <a:ea typeface="Calibri" panose="020F0502020204030204" pitchFamily="34" charset="0"/>
              </a:rPr>
              <a:t>node</a:t>
            </a:r>
            <a:r>
              <a:rPr lang="de-DE" sz="1800" dirty="0">
                <a:effectLst/>
                <a:latin typeface="Calibri" panose="020F0502020204030204" pitchFamily="34" charset="0"/>
                <a:ea typeface="Calibri" panose="020F0502020204030204" pitchFamily="34" charset="0"/>
              </a:rPr>
              <a:t>/1914).</a:t>
            </a:r>
            <a:r>
              <a:rPr lang="de-DE" dirty="0">
                <a:effectLst/>
              </a:rPr>
              <a:t> </a:t>
            </a: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17</a:t>
            </a:fld>
            <a:endParaRPr lang="de-DE"/>
          </a:p>
        </p:txBody>
      </p:sp>
    </p:spTree>
    <p:extLst>
      <p:ext uri="{BB962C8B-B14F-4D97-AF65-F5344CB8AC3E}">
        <p14:creationId xmlns:p14="http://schemas.microsoft.com/office/powerpoint/2010/main" val="139428037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AF12454-57A3-5346-8AD1-8A7E704F94A5}" type="slidenum">
              <a:rPr lang="de-DE" smtClean="0"/>
              <a:pPr/>
              <a:t>4</a:t>
            </a:fld>
            <a:endParaRPr lang="de-DE"/>
          </a:p>
        </p:txBody>
      </p:sp>
    </p:spTree>
    <p:extLst>
      <p:ext uri="{BB962C8B-B14F-4D97-AF65-F5344CB8AC3E}">
        <p14:creationId xmlns:p14="http://schemas.microsoft.com/office/powerpoint/2010/main" val="35779783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Zu Beginn des neuen Schuljahres kann eine Standortbestimmung Aufschluss über die entwickelten Basiskompetenzen der Schülerinnen und Schüler geben. Diese sind für das tragfähige Weiterlernen im neuen Schuljahr essentiell und stellen eine wichtige Grundlage für die Unterrichts- und Förderplanung </a:t>
            </a:r>
            <a:r>
              <a:rPr lang="de-DE" sz="1200" b="1" dirty="0">
                <a:solidFill>
                  <a:srgbClr val="000000"/>
                </a:solidFill>
                <a:effectLst/>
                <a:highlight>
                  <a:srgbClr val="FFFF00"/>
                </a:highlight>
                <a:latin typeface="Calibri" panose="020F0502020204030204" pitchFamily="34" charset="0"/>
                <a:ea typeface="Times New Roman" panose="02020603050405020304" pitchFamily="18" charset="0"/>
              </a:rPr>
              <a:t>jedes Schuljahres </a:t>
            </a: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dar.</a:t>
            </a:r>
            <a:r>
              <a:rPr lang="de-DE" sz="1200" dirty="0">
                <a:solidFill>
                  <a:srgbClr val="000000"/>
                </a:solidFill>
                <a:effectLst/>
                <a:latin typeface="Calibri" panose="020F0502020204030204" pitchFamily="34" charset="0"/>
                <a:ea typeface="Times New Roman" panose="02020603050405020304" pitchFamily="18" charset="0"/>
              </a:rPr>
              <a:t> </a:t>
            </a:r>
            <a:endParaRPr lang="de-DE" sz="1200" dirty="0">
              <a:effectLst/>
              <a:latin typeface="Times New Roman" panose="02020603050405020304" pitchFamily="18" charset="0"/>
              <a:ea typeface="Times New Roman" panose="02020603050405020304" pitchFamily="18" charset="0"/>
            </a:endParaRPr>
          </a:p>
          <a:p>
            <a:endParaRPr lang="de-DE" dirty="0"/>
          </a:p>
          <a:p>
            <a:r>
              <a:rPr lang="de-DE" dirty="0"/>
              <a:t>Das Plakat bietet eine Übersicht über die arithmetischen Basiskompetenzen, die in der Grundschule von den Kindern erworben werden sollten. </a:t>
            </a:r>
          </a:p>
          <a:p>
            <a:r>
              <a:rPr lang="de-DE" dirty="0"/>
              <a:t>Anhand dieses können die konkreten Kompetenzen zum Schuljahresbeginn identifiziert werden, sodass eine Eingangsdiagnostik geplant werden kann. </a:t>
            </a:r>
          </a:p>
          <a:p>
            <a:r>
              <a:rPr lang="de-DE" dirty="0"/>
              <a:t>Ebenfalls können Förderungen strukturiert werden, indem fehlende Basiskompetenzen konkretisiert werden. </a:t>
            </a:r>
          </a:p>
          <a:p>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5</a:t>
            </a:fld>
            <a:endParaRPr lang="de-DE"/>
          </a:p>
        </p:txBody>
      </p:sp>
    </p:spTree>
    <p:extLst>
      <p:ext uri="{BB962C8B-B14F-4D97-AF65-F5344CB8AC3E}">
        <p14:creationId xmlns:p14="http://schemas.microsoft.com/office/powerpoint/2010/main" val="3899590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Im Folgenden wird auf neun ausgewählte Basiskompetenzen fokussiert, die grundlegend für ein tragfähiges Zahlverständnis sind, welches im größeren Zahlenraum des nächsten Schuljahres weiterentwickelt werden so</a:t>
            </a:r>
            <a:r>
              <a:rPr lang="de-DE" sz="1200" dirty="0">
                <a:solidFill>
                  <a:srgbClr val="000000"/>
                </a:solidFill>
                <a:effectLst/>
                <a:latin typeface="Calibri" panose="020F0502020204030204" pitchFamily="34" charset="0"/>
                <a:ea typeface="Times New Roman" panose="02020603050405020304" pitchFamily="18" charset="0"/>
              </a:rPr>
              <a:t>ll.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sz="1200" dirty="0">
              <a:solidFill>
                <a:srgbClr val="000000"/>
              </a:solidFill>
              <a:effectLst/>
              <a:latin typeface="Calibri" panose="020F0502020204030204" pitchFamily="34" charset="0"/>
              <a:ea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dirty="0">
                <a:solidFill>
                  <a:srgbClr val="000000"/>
                </a:solidFill>
                <a:effectLst/>
                <a:latin typeface="Calibri" panose="020F0502020204030204" pitchFamily="34" charset="0"/>
                <a:ea typeface="Times New Roman" panose="02020603050405020304" pitchFamily="18" charset="0"/>
              </a:rPr>
              <a:t>Die Kompetenzen finden sich inhaltlich in den aktuellen Bildungsstandards und Lehrplänen wieder.</a:t>
            </a:r>
          </a:p>
        </p:txBody>
      </p:sp>
      <p:sp>
        <p:nvSpPr>
          <p:cNvPr id="4" name="Foliennummernplatzhalter 3"/>
          <p:cNvSpPr>
            <a:spLocks noGrp="1"/>
          </p:cNvSpPr>
          <p:nvPr>
            <p:ph type="sldNum" sz="quarter" idx="5"/>
          </p:nvPr>
        </p:nvSpPr>
        <p:spPr/>
        <p:txBody>
          <a:bodyPr/>
          <a:lstStyle/>
          <a:p>
            <a:fld id="{FAF12454-57A3-5346-8AD1-8A7E704F94A5}" type="slidenum">
              <a:rPr lang="de-DE" smtClean="0"/>
              <a:pPr/>
              <a:t>6</a:t>
            </a:fld>
            <a:endParaRPr lang="de-DE"/>
          </a:p>
        </p:txBody>
      </p:sp>
    </p:spTree>
    <p:extLst>
      <p:ext uri="{BB962C8B-B14F-4D97-AF65-F5344CB8AC3E}">
        <p14:creationId xmlns:p14="http://schemas.microsoft.com/office/powerpoint/2010/main" val="227206677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FAF12454-57A3-5346-8AD1-8A7E704F94A5}" type="slidenum">
              <a:rPr lang="de-DE" smtClean="0"/>
              <a:pPr/>
              <a:t>7</a:t>
            </a:fld>
            <a:endParaRPr lang="de-DE"/>
          </a:p>
        </p:txBody>
      </p:sp>
    </p:spTree>
    <p:extLst>
      <p:ext uri="{BB962C8B-B14F-4D97-AF65-F5344CB8AC3E}">
        <p14:creationId xmlns:p14="http://schemas.microsoft.com/office/powerpoint/2010/main" val="6661510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just" defTabSz="914400" rtl="0" eaLnBrk="1" fontAlgn="base" latinLnBrk="0" hangingPunct="1">
              <a:lnSpc>
                <a:spcPct val="115000"/>
              </a:lnSpc>
              <a:spcBef>
                <a:spcPct val="30000"/>
              </a:spcBef>
              <a:spcAft>
                <a:spcPct val="0"/>
              </a:spcAft>
              <a:buClrTx/>
              <a:buSzTx/>
              <a:buFontTx/>
              <a:buNone/>
              <a:tabLst/>
              <a:defRPr/>
            </a:pPr>
            <a:r>
              <a:rPr lang="de-DE" sz="1200" dirty="0">
                <a:solidFill>
                  <a:srgbClr val="000000"/>
                </a:solidFill>
                <a:effectLst/>
                <a:latin typeface="Calibri" panose="020F0502020204030204" pitchFamily="34" charset="0"/>
                <a:ea typeface="Times New Roman" panose="02020603050405020304" pitchFamily="18" charset="0"/>
              </a:rPr>
              <a:t>Die Standortbestimmung liegt als </a:t>
            </a:r>
            <a:r>
              <a:rPr lang="de-DE" sz="1200" dirty="0" err="1">
                <a:solidFill>
                  <a:srgbClr val="000000"/>
                </a:solidFill>
                <a:effectLst/>
                <a:latin typeface="Calibri" panose="020F0502020204030204" pitchFamily="34" charset="0"/>
                <a:ea typeface="Times New Roman" panose="02020603050405020304" pitchFamily="18" charset="0"/>
              </a:rPr>
              <a:t>Powerpoint</a:t>
            </a:r>
            <a:r>
              <a:rPr lang="de-DE" sz="1200" dirty="0">
                <a:solidFill>
                  <a:srgbClr val="000000"/>
                </a:solidFill>
                <a:effectLst/>
                <a:latin typeface="Calibri" panose="020F0502020204030204" pitchFamily="34" charset="0"/>
                <a:ea typeface="Times New Roman" panose="02020603050405020304" pitchFamily="18" charset="0"/>
              </a:rPr>
              <a:t>-Datei vor und kann als DIN A5 Heft ausgedruckt oder z. B. an der digitalen Tafel genutzt werden.</a:t>
            </a:r>
          </a:p>
          <a:p>
            <a:pPr marL="0" marR="0" lvl="0" indent="0" algn="just" defTabSz="914400" rtl="0" eaLnBrk="1" fontAlgn="base" latinLnBrk="0" hangingPunct="1">
              <a:lnSpc>
                <a:spcPct val="115000"/>
              </a:lnSpc>
              <a:spcBef>
                <a:spcPct val="30000"/>
              </a:spcBef>
              <a:spcAft>
                <a:spcPct val="0"/>
              </a:spcAft>
              <a:buClrTx/>
              <a:buSzTx/>
              <a:buFontTx/>
              <a:buNone/>
              <a:tabLst/>
              <a:defRPr/>
            </a:pPr>
            <a:endParaRPr lang="de-DE" sz="1200" dirty="0">
              <a:solidFill>
                <a:srgbClr val="000000"/>
              </a:solidFill>
              <a:effectLst/>
              <a:latin typeface="Calibri" panose="020F0502020204030204" pitchFamily="34" charset="0"/>
              <a:ea typeface="Times New Roman" panose="02020603050405020304" pitchFamily="18" charset="0"/>
            </a:endParaRPr>
          </a:p>
          <a:p>
            <a:pPr marL="0" marR="0" lvl="0" indent="0" algn="l" defTabSz="914257" rtl="0" eaLnBrk="1" fontAlgn="auto" latinLnBrk="0" hangingPunct="1">
              <a:lnSpc>
                <a:spcPct val="100000"/>
              </a:lnSpc>
              <a:spcBef>
                <a:spcPts val="0"/>
              </a:spcBef>
              <a:spcAft>
                <a:spcPts val="0"/>
              </a:spcAft>
              <a:buClrTx/>
              <a:buSzTx/>
              <a:buFontTx/>
              <a:buNone/>
              <a:tabLst/>
              <a:defRPr/>
            </a:pPr>
            <a:r>
              <a:rPr lang="de-DE" sz="1200" u="sng" kern="100" dirty="0">
                <a:effectLst/>
                <a:latin typeface="Calibri" panose="020F0502020204030204" pitchFamily="34" charset="0"/>
                <a:ea typeface="Calibri" panose="020F0502020204030204" pitchFamily="34" charset="0"/>
                <a:cs typeface="Times New Roman" panose="02020603050405020304" pitchFamily="18" charset="0"/>
              </a:rPr>
              <a:t>Anmerkung zur SOB Klasse 1</a:t>
            </a:r>
          </a:p>
          <a:p>
            <a:pPr marL="171450" marR="0" lvl="0" indent="-171450" algn="l" defTabSz="914257" rtl="0" eaLnBrk="1" fontAlgn="auto" latinLnBrk="0" hangingPunct="1">
              <a:lnSpc>
                <a:spcPct val="100000"/>
              </a:lnSpc>
              <a:spcBef>
                <a:spcPts val="0"/>
              </a:spcBef>
              <a:spcAft>
                <a:spcPts val="0"/>
              </a:spcAft>
              <a:buClrTx/>
              <a:buSzTx/>
              <a:buFontTx/>
              <a:buChar char="-"/>
              <a:tabLst/>
              <a:defRP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SOB greift auch, aber nicht nur Aufgaben, die die typischen Vorläuferfähigkeiten auf</a:t>
            </a:r>
          </a:p>
          <a:p>
            <a:pPr marL="171450" marR="0" lvl="0" indent="-171450" algn="l" defTabSz="914257" rtl="0" eaLnBrk="1" fontAlgn="auto" latinLnBrk="0" hangingPunct="1">
              <a:lnSpc>
                <a:spcPct val="100000"/>
              </a:lnSpc>
              <a:spcBef>
                <a:spcPts val="0"/>
              </a:spcBef>
              <a:spcAft>
                <a:spcPts val="0"/>
              </a:spcAft>
              <a:buClrTx/>
              <a:buSzTx/>
              <a:buFontTx/>
              <a:buChar char="-"/>
              <a:tabLst/>
              <a:defRP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Die Aufgaben der SOB beginnen i.d.R. mit einer einfachen Teilaufgaben (im kleinen Zahlenraum bis 5, max.10), schwierigere Aufgaben im höheren Zahlenraum folgen</a:t>
            </a:r>
          </a:p>
          <a:p>
            <a:pPr marL="171450" marR="0" lvl="0" indent="-171450" algn="l" defTabSz="914257" rtl="0" eaLnBrk="1" fontAlgn="auto" latinLnBrk="0" hangingPunct="1">
              <a:lnSpc>
                <a:spcPct val="100000"/>
              </a:lnSpc>
              <a:spcBef>
                <a:spcPts val="0"/>
              </a:spcBef>
              <a:spcAft>
                <a:spcPts val="0"/>
              </a:spcAft>
              <a:buClrTx/>
              <a:buSzTx/>
              <a:buFontTx/>
              <a:buChar char="-"/>
              <a:tabLst/>
              <a:defRPr/>
            </a:pP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Bewusst schon Zahlenraum bis 20 (obwohl am Schulanfang noch nicht ganz so relevant) passend zu anderen SOB (</a:t>
            </a:r>
            <a:r>
              <a:rPr lang="de-DE" sz="1200" i="1" kern="100" dirty="0">
                <a:effectLst/>
                <a:latin typeface="Calibri" panose="020F0502020204030204" pitchFamily="34" charset="0"/>
                <a:ea typeface="Calibri" panose="020F0502020204030204" pitchFamily="34" charset="0"/>
                <a:cs typeface="Times New Roman" panose="02020603050405020304" pitchFamily="18" charset="0"/>
              </a:rPr>
              <a:t>Ausblick</a:t>
            </a:r>
            <a:r>
              <a:rPr lang="de-DE" sz="1200" kern="100" dirty="0">
                <a:effectLst/>
                <a:latin typeface="Calibri" panose="020F0502020204030204" pitchFamily="34" charset="0"/>
                <a:ea typeface="Calibri" panose="020F0502020204030204" pitchFamily="34" charset="0"/>
                <a:cs typeface="Times New Roman" panose="02020603050405020304" pitchFamily="18" charset="0"/>
              </a:rPr>
              <a:t>)</a:t>
            </a:r>
          </a:p>
          <a:p>
            <a:pPr marL="0" marR="0" lvl="0" indent="0" algn="just" defTabSz="914400" rtl="0" eaLnBrk="1" fontAlgn="base" latinLnBrk="0" hangingPunct="1">
              <a:lnSpc>
                <a:spcPct val="115000"/>
              </a:lnSpc>
              <a:spcBef>
                <a:spcPct val="30000"/>
              </a:spcBef>
              <a:spcAft>
                <a:spcPct val="0"/>
              </a:spcAft>
              <a:buClrTx/>
              <a:buSzTx/>
              <a:buFontTx/>
              <a:buNone/>
              <a:tabLst/>
              <a:defRPr/>
            </a:pPr>
            <a:endParaRPr lang="de-DE" sz="1200" dirty="0">
              <a:solidFill>
                <a:srgbClr val="000000"/>
              </a:solidFill>
              <a:effectLst/>
              <a:latin typeface="Calibri" panose="020F0502020204030204" pitchFamily="34" charset="0"/>
              <a:ea typeface="Times New Roman" panose="02020603050405020304" pitchFamily="18" charset="0"/>
            </a:endParaRPr>
          </a:p>
        </p:txBody>
      </p:sp>
      <p:sp>
        <p:nvSpPr>
          <p:cNvPr id="4" name="Foliennummernplatzhalter 3"/>
          <p:cNvSpPr>
            <a:spLocks noGrp="1"/>
          </p:cNvSpPr>
          <p:nvPr>
            <p:ph type="sldNum" sz="quarter" idx="5"/>
          </p:nvPr>
        </p:nvSpPr>
        <p:spPr/>
        <p:txBody>
          <a:bodyPr/>
          <a:lstStyle/>
          <a:p>
            <a:fld id="{FAF12454-57A3-5346-8AD1-8A7E704F94A5}" type="slidenum">
              <a:rPr lang="de-DE" smtClean="0"/>
              <a:pPr/>
              <a:t>8</a:t>
            </a:fld>
            <a:endParaRPr lang="de-DE"/>
          </a:p>
        </p:txBody>
      </p:sp>
    </p:spTree>
    <p:extLst>
      <p:ext uri="{BB962C8B-B14F-4D97-AF65-F5344CB8AC3E}">
        <p14:creationId xmlns:p14="http://schemas.microsoft.com/office/powerpoint/2010/main" val="861666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just" defTabSz="914400" rtl="0" eaLnBrk="1" fontAlgn="base" latinLnBrk="0" hangingPunct="1">
              <a:lnSpc>
                <a:spcPct val="115000"/>
              </a:lnSpc>
              <a:spcBef>
                <a:spcPct val="30000"/>
              </a:spcBef>
              <a:spcAft>
                <a:spcPct val="0"/>
              </a:spcAft>
              <a:buClrTx/>
              <a:buSzTx/>
              <a:buFontTx/>
              <a:buNone/>
              <a:tabLst/>
              <a:defRPr/>
            </a:pPr>
            <a:r>
              <a:rPr lang="de-DE" sz="1200" dirty="0">
                <a:solidFill>
                  <a:srgbClr val="000000"/>
                </a:solidFill>
                <a:effectLst/>
                <a:latin typeface="Calibri" panose="020F0502020204030204" pitchFamily="34" charset="0"/>
                <a:ea typeface="Times New Roman" panose="02020603050405020304" pitchFamily="18" charset="0"/>
              </a:rPr>
              <a:t>Die Standortbestimmung wird in verschiedenen Varianten angeboten:</a:t>
            </a:r>
            <a:endParaRPr lang="de-DE" sz="1200" dirty="0">
              <a:solidFill>
                <a:srgbClr val="000000"/>
              </a:solidFill>
              <a:effectLst/>
              <a:highlight>
                <a:srgbClr val="FFFF00"/>
              </a:highlight>
              <a:latin typeface="Calibri" panose="020F0502020204030204" pitchFamily="34" charset="0"/>
              <a:ea typeface="Times New Roman" panose="02020603050405020304" pitchFamily="18" charset="0"/>
            </a:endParaRPr>
          </a:p>
          <a:p>
            <a:pPr marL="171450" marR="0" lvl="0" indent="-171450" algn="just" defTabSz="914400" rtl="0" eaLnBrk="1" fontAlgn="base" latinLnBrk="0" hangingPunct="1">
              <a:lnSpc>
                <a:spcPct val="115000"/>
              </a:lnSpc>
              <a:spcBef>
                <a:spcPct val="30000"/>
              </a:spcBef>
              <a:spcAft>
                <a:spcPct val="0"/>
              </a:spcAft>
              <a:buClrTx/>
              <a:buSzTx/>
              <a:buFont typeface="Arial" panose="020B0604020202020204" pitchFamily="34" charset="0"/>
              <a:buChar char="•"/>
              <a:tabLst/>
              <a:defRPr/>
            </a:pP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Die „</a:t>
            </a:r>
            <a:r>
              <a:rPr lang="de-DE"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SOB Basiskompetenzen im ZR 20“ </a:t>
            </a: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ermöglicht</a:t>
            </a:r>
            <a:r>
              <a:rPr lang="de-DE" sz="1200" dirty="0">
                <a:solidFill>
                  <a:schemeClr val="tx1"/>
                </a:solidFill>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 </a:t>
            </a: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zu Schuljahresbeginn den Rückblick auf vorhandene Basiskompetenzen.</a:t>
            </a:r>
            <a:endParaRPr lang="de-DE" sz="1200" dirty="0">
              <a:effectLst/>
              <a:latin typeface="Times New Roman" panose="02020603050405020304" pitchFamily="18" charset="0"/>
              <a:ea typeface="Times New Roman" panose="02020603050405020304" pitchFamily="18" charset="0"/>
            </a:endParaRPr>
          </a:p>
          <a:p>
            <a:pPr marL="171450" indent="-171450" algn="just">
              <a:lnSpc>
                <a:spcPct val="115000"/>
              </a:lnSpc>
              <a:buFont typeface="Arial" panose="020B0604020202020204" pitchFamily="34" charset="0"/>
              <a:buChar char="•"/>
            </a:pP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Die „</a:t>
            </a:r>
            <a:r>
              <a:rPr lang="de-DE" sz="1200" dirty="0">
                <a:solidFill>
                  <a:srgbClr val="000000"/>
                </a:solidFill>
                <a:effectLst/>
                <a:highlight>
                  <a:srgbClr val="FFFF00"/>
                </a:highlight>
                <a:latin typeface="Calibri" panose="020F0502020204030204" pitchFamily="34" charset="0"/>
                <a:ea typeface="Calibri" panose="020F0502020204030204" pitchFamily="34" charset="0"/>
                <a:cs typeface="Calibri" panose="020F0502020204030204" pitchFamily="34" charset="0"/>
              </a:rPr>
              <a:t>SOB Basiskompetenzen im ZR 20 (bis 100)“ </a:t>
            </a:r>
            <a:r>
              <a:rPr lang="de-DE" sz="1200" dirty="0">
                <a:solidFill>
                  <a:srgbClr val="000000"/>
                </a:solidFill>
                <a:effectLst/>
                <a:highlight>
                  <a:srgbClr val="FFFF00"/>
                </a:highlight>
                <a:latin typeface="Calibri" panose="020F0502020204030204" pitchFamily="34" charset="0"/>
                <a:ea typeface="Times New Roman" panose="02020603050405020304" pitchFamily="18" charset="0"/>
              </a:rPr>
              <a:t>ermöglicht</a:t>
            </a:r>
            <a:r>
              <a:rPr lang="de-DE" sz="1200" dirty="0">
                <a:solidFill>
                  <a:schemeClr val="tx1"/>
                </a:solidFill>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 </a:t>
            </a:r>
            <a:r>
              <a:rPr lang="de-DE" sz="1200" dirty="0">
                <a:solidFill>
                  <a:srgbClr val="000000"/>
                </a:solidFill>
                <a:effectLst/>
                <a:latin typeface="Calibri" panose="020F0502020204030204" pitchFamily="34" charset="0"/>
                <a:ea typeface="Times New Roman" panose="02020603050405020304" pitchFamily="18" charset="0"/>
              </a:rPr>
              <a:t> zu einem späteren Zeitpunkt im ersten Halbjahr auch einen Ausblick auf den folgenden Zahlenraum. </a:t>
            </a:r>
            <a:endParaRPr lang="de-DE"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15000"/>
              </a:lnSpc>
            </a:pPr>
            <a:r>
              <a:rPr lang="de-DE" sz="1200" dirty="0">
                <a:solidFill>
                  <a:srgbClr val="222222"/>
                </a:solidFill>
                <a:effectLst/>
                <a:latin typeface="Calibri" panose="020F0502020204030204" pitchFamily="34" charset="0"/>
                <a:ea typeface="Times New Roman" panose="02020603050405020304" pitchFamily="18" charset="0"/>
              </a:rPr>
              <a:t>Bitte wählen Sie entsprechend Ihrer Lerngruppe und Zielsetzung die passende Standortbestimmung aus. Die Datei wird im Wordformat zur Verfügung gestellt, sodass diese inhaltlich sowie im Hinblick auf die Reihenfolge der Aufgaben individuell angepasst werden kann. </a:t>
            </a:r>
            <a:endParaRPr lang="de-DE" sz="1200" dirty="0">
              <a:effectLst/>
              <a:latin typeface="Times New Roman" panose="02020603050405020304" pitchFamily="18" charset="0"/>
              <a:ea typeface="Times New Roman" panose="02020603050405020304" pitchFamily="18" charset="0"/>
            </a:endParaRPr>
          </a:p>
          <a:p>
            <a:pPr marL="342900" indent="-342900">
              <a:spcBef>
                <a:spcPts val="400"/>
              </a:spcBef>
            </a:pPr>
            <a:endParaRPr lang="de-DE" sz="1200" dirty="0">
              <a:latin typeface="Calibri"/>
              <a:cs typeface="Calibri"/>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FAF12454-57A3-5346-8AD1-8A7E704F94A5}" type="slidenum">
              <a:rPr lang="de-DE" smtClean="0"/>
              <a:pPr/>
              <a:t>9</a:t>
            </a:fld>
            <a:endParaRPr lang="de-DE"/>
          </a:p>
        </p:txBody>
      </p:sp>
    </p:spTree>
    <p:extLst>
      <p:ext uri="{BB962C8B-B14F-4D97-AF65-F5344CB8AC3E}">
        <p14:creationId xmlns:p14="http://schemas.microsoft.com/office/powerpoint/2010/main" val="289031481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800" dirty="0">
                <a:solidFill>
                  <a:srgbClr val="000000"/>
                </a:solidFill>
                <a:effectLst/>
                <a:highlight>
                  <a:srgbClr val="FFFF00"/>
                </a:highlight>
                <a:latin typeface="Calibri" panose="020F0502020204030204" pitchFamily="34" charset="0"/>
                <a:ea typeface="Times New Roman" panose="02020603050405020304" pitchFamily="18" charset="0"/>
              </a:rPr>
              <a:t>Neun ausgewählte Basiskompetenzen, die grundlegend für ein tragfähiges Zahlverständnis sind, welches im größeren Zahlenraum des nächsten Schuljahres weiterentwickelt werden so</a:t>
            </a:r>
            <a:r>
              <a:rPr lang="de-DE" sz="1800" dirty="0">
                <a:solidFill>
                  <a:srgbClr val="000000"/>
                </a:solidFill>
                <a:effectLst/>
                <a:latin typeface="Calibri" panose="020F0502020204030204" pitchFamily="34" charset="0"/>
                <a:ea typeface="Times New Roman" panose="02020603050405020304" pitchFamily="18" charset="0"/>
              </a:rPr>
              <a:t>ll.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sz="1800" dirty="0">
              <a:effectLst/>
              <a:latin typeface="Times New Roman" panose="02020603050405020304" pitchFamily="18" charset="0"/>
              <a:ea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de-DE" sz="1800" dirty="0">
                <a:effectLst/>
                <a:latin typeface="Times New Roman" panose="02020603050405020304" pitchFamily="18" charset="0"/>
                <a:ea typeface="Times New Roman" panose="02020603050405020304" pitchFamily="18" charset="0"/>
              </a:rPr>
              <a:t>[Die Folie kann in der Aktivierungsphase eingeblendet werden, während sich die </a:t>
            </a:r>
            <a:r>
              <a:rPr lang="de-DE" sz="1800" dirty="0" err="1">
                <a:effectLst/>
                <a:latin typeface="Times New Roman" panose="02020603050405020304" pitchFamily="18" charset="0"/>
                <a:ea typeface="Times New Roman" panose="02020603050405020304" pitchFamily="18" charset="0"/>
              </a:rPr>
              <a:t>Kolleg:innen</a:t>
            </a:r>
            <a:r>
              <a:rPr lang="de-DE" sz="1800" dirty="0">
                <a:effectLst/>
                <a:latin typeface="Times New Roman" panose="02020603050405020304" pitchFamily="18" charset="0"/>
                <a:ea typeface="Times New Roman" panose="02020603050405020304" pitchFamily="18" charset="0"/>
              </a:rPr>
              <a:t> mit den Standortbestimmungen auseinandersetzen]</a:t>
            </a:r>
          </a:p>
        </p:txBody>
      </p:sp>
      <p:sp>
        <p:nvSpPr>
          <p:cNvPr id="4" name="Foliennummernplatzhalter 3"/>
          <p:cNvSpPr>
            <a:spLocks noGrp="1"/>
          </p:cNvSpPr>
          <p:nvPr>
            <p:ph type="sldNum" sz="quarter" idx="5"/>
          </p:nvPr>
        </p:nvSpPr>
        <p:spPr/>
        <p:txBody>
          <a:bodyPr/>
          <a:lstStyle/>
          <a:p>
            <a:fld id="{FAF12454-57A3-5346-8AD1-8A7E704F94A5}" type="slidenum">
              <a:rPr lang="de-DE" smtClean="0"/>
              <a:pPr/>
              <a:t>10</a:t>
            </a:fld>
            <a:endParaRPr lang="de-DE"/>
          </a:p>
        </p:txBody>
      </p:sp>
    </p:spTree>
    <p:extLst>
      <p:ext uri="{BB962C8B-B14F-4D97-AF65-F5344CB8AC3E}">
        <p14:creationId xmlns:p14="http://schemas.microsoft.com/office/powerpoint/2010/main" val="204708200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de-DE" sz="1200">
                <a:latin typeface="Calibri"/>
                <a:cs typeface="Calibri"/>
              </a:rPr>
              <a:t>Optionale Folie um über einzelne Aufgaben gemeinsam sprechen zu können.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de-DE"/>
          </a:p>
        </p:txBody>
      </p:sp>
      <p:sp>
        <p:nvSpPr>
          <p:cNvPr id="4" name="Foliennummernplatzhalter 3"/>
          <p:cNvSpPr>
            <a:spLocks noGrp="1"/>
          </p:cNvSpPr>
          <p:nvPr>
            <p:ph type="sldNum" sz="quarter" idx="5"/>
          </p:nvPr>
        </p:nvSpPr>
        <p:spPr/>
        <p:txBody>
          <a:bodyPr/>
          <a:lstStyle/>
          <a:p>
            <a:fld id="{FAF12454-57A3-5346-8AD1-8A7E704F94A5}" type="slidenum">
              <a:rPr lang="de-DE" smtClean="0"/>
              <a:pPr/>
              <a:t>11</a:t>
            </a:fld>
            <a:endParaRPr lang="de-DE"/>
          </a:p>
        </p:txBody>
      </p:sp>
    </p:spTree>
    <p:extLst>
      <p:ext uri="{BB962C8B-B14F-4D97-AF65-F5344CB8AC3E}">
        <p14:creationId xmlns:p14="http://schemas.microsoft.com/office/powerpoint/2010/main" val="24507849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2.xml"/><Relationship Id="rId1" Type="http://schemas.openxmlformats.org/officeDocument/2006/relationships/tags" Target="../tags/tag1.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5479468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a:t>Kapitel 1</a:t>
            </a:r>
          </a:p>
          <a:p>
            <a:pPr lvl="0"/>
            <a:r>
              <a:rPr lang="de-DE"/>
              <a:t>Kapitel 2</a:t>
            </a:r>
          </a:p>
          <a:p>
            <a:pPr lvl="0"/>
            <a:r>
              <a:rPr lang="de-DE"/>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a:solidFill>
                  <a:schemeClr val="tx2"/>
                </a:solidFill>
                <a:latin typeface="+mj-lt"/>
              </a:rPr>
              <a:t>Gliederung</a:t>
            </a:r>
            <a:endParaRPr lang="de-DE" sz="2200" b="1">
              <a:solidFill>
                <a:schemeClr val="tx2"/>
              </a:solidFill>
              <a:latin typeface="+mj-lt"/>
              <a:cs typeface="Calibri"/>
            </a:endParaRPr>
          </a:p>
        </p:txBody>
      </p:sp>
    </p:spTree>
    <p:extLst>
      <p:ext uri="{BB962C8B-B14F-4D97-AF65-F5344CB8AC3E}">
        <p14:creationId xmlns:p14="http://schemas.microsoft.com/office/powerpoint/2010/main" val="29988792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5C41C1CD-F6D5-6A4D-8CCC-BD92E20A67DE}"/>
              </a:ext>
            </a:extLst>
          </p:cNvPr>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7772400" imgH="10058400" progId="TCLayout.ActiveDocument.1">
                  <p:embed/>
                </p:oleObj>
              </mc:Choice>
              <mc:Fallback>
                <p:oleObj name="think-cell Folie" r:id="rId3" imgW="7772400" imgH="10058400" progId="TCLayout.ActiveDocument.1">
                  <p:embed/>
                  <p:pic>
                    <p:nvPicPr>
                      <p:cNvPr id="7" name="Objekt 6" hidden="1">
                        <a:extLst>
                          <a:ext uri="{FF2B5EF4-FFF2-40B4-BE49-F238E27FC236}">
                            <a16:creationId xmlns:a16="http://schemas.microsoft.com/office/drawing/2014/main" id="{5C41C1CD-F6D5-6A4D-8CCC-BD92E20A67DE}"/>
                          </a:ext>
                        </a:extLst>
                      </p:cNvPr>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84D65D78-3947-403B-A6B2-521C5C3BD3F4}"/>
              </a:ext>
            </a:extLst>
          </p:cNvPr>
          <p:cNvSpPr>
            <a:spLocks noGrp="1"/>
          </p:cNvSpPr>
          <p:nvPr>
            <p:ph type="title"/>
          </p:nvPr>
        </p:nvSpPr>
        <p:spPr>
          <a:xfrm>
            <a:off x="35496" y="188640"/>
            <a:ext cx="8964488" cy="490861"/>
          </a:xfrm>
        </p:spPr>
        <p:txBody>
          <a:bodyPr/>
          <a:lstStyle/>
          <a:p>
            <a:r>
              <a:rPr lang="de-DE"/>
              <a:t>Mastertitelformat bearbeiten</a:t>
            </a:r>
          </a:p>
        </p:txBody>
      </p:sp>
      <p:sp>
        <p:nvSpPr>
          <p:cNvPr id="3" name="Inhaltsplatzhalter 2">
            <a:extLst>
              <a:ext uri="{FF2B5EF4-FFF2-40B4-BE49-F238E27FC236}">
                <a16:creationId xmlns:a16="http://schemas.microsoft.com/office/drawing/2014/main" id="{246472A9-5433-467B-9290-956CB7B251CC}"/>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146653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Überschrift + Conten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22950"/>
            <a:ext cx="8928000" cy="216000"/>
          </a:xfrm>
          <a:prstGeom prst="rect">
            <a:avLst/>
          </a:prstGeom>
        </p:spPr>
        <p:txBody>
          <a:bodyPr lIns="0" tIns="0" rIns="0" bIns="0"/>
          <a:lstStyle>
            <a:lvl1pPr marL="0" indent="0" algn="r">
              <a:spcBef>
                <a:spcPts val="0"/>
              </a:spcBef>
              <a:spcAft>
                <a:spcPts val="0"/>
              </a:spcAft>
              <a:buNone/>
              <a:defRPr sz="11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95924656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899999"/>
            <a:ext cx="8640000" cy="5580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54386573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691200"/>
            <a:ext cx="9144000" cy="2952945"/>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14895917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41421768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17457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792000"/>
            <a:ext cx="9144000" cy="2849806"/>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5129467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278443"/>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1885197"/>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3211273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115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3999"/>
            <a:ext cx="8640000" cy="6156000"/>
          </a:xfrm>
          <a:prstGeom prst="rect">
            <a:avLst/>
          </a:prstGeom>
        </p:spPr>
        <p:txBody>
          <a:bodyPr vert="horz" wrap="square" lIns="0" tIns="0" rIns="0" bIns="0" rtlCol="0">
            <a:noAutofit/>
          </a:bodyPr>
          <a:lstStyle>
            <a:lvl1pPr marL="215900" indent="-215900">
              <a:spcAft>
                <a:spcPts val="600"/>
              </a:spcAft>
              <a:buClr>
                <a:schemeClr val="tx2"/>
              </a:buClr>
              <a:buSzPct val="85000"/>
              <a:buFont typeface="Wingdings" panose="05000000000000000000" pitchFamily="2" charset="2"/>
              <a:buChar char="§"/>
              <a:defRPr sz="1800"/>
            </a:lvl1pPr>
            <a:lvl2pPr marL="432000" indent="-216000">
              <a:spcAft>
                <a:spcPts val="600"/>
              </a:spcAft>
              <a:buClr>
                <a:schemeClr val="tx2"/>
              </a:buClr>
              <a:buSzPct val="85000"/>
              <a:buFont typeface="Wingdings" panose="05000000000000000000" pitchFamily="2" charset="2"/>
              <a:buChar char="§"/>
              <a:defRPr sz="1600"/>
            </a:lvl2pPr>
            <a:lvl3pPr marL="432000" indent="-216000">
              <a:spcAft>
                <a:spcPts val="600"/>
              </a:spcAft>
              <a:buClr>
                <a:schemeClr val="tx2"/>
              </a:buClr>
              <a:buSzPct val="85000"/>
              <a:buFont typeface="Wingdings" panose="05000000000000000000" pitchFamily="2" charset="2"/>
              <a:buChar char="§"/>
              <a:defRPr sz="1600"/>
            </a:lvl3pPr>
            <a:lvl4pPr marL="432000" indent="-216000">
              <a:spcAft>
                <a:spcPts val="600"/>
              </a:spcAft>
              <a:buClr>
                <a:schemeClr val="tx2"/>
              </a:buClr>
              <a:buSzPct val="85000"/>
              <a:buFont typeface="Wingdings" panose="05000000000000000000" pitchFamily="2" charset="2"/>
              <a:buChar char="§"/>
              <a:defRPr sz="1600"/>
            </a:lvl4pPr>
            <a:lvl5pPr marL="432000" indent="-216000">
              <a:buClr>
                <a:schemeClr val="tx2"/>
              </a:buClr>
              <a:buSzPct val="85000"/>
              <a:buFont typeface="Wingdings" panose="05000000000000000000" pitchFamily="2" charset="2"/>
              <a:buChar cha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extplatzhalter 8">
            <a:extLst>
              <a:ext uri="{FF2B5EF4-FFF2-40B4-BE49-F238E27FC236}">
                <a16:creationId xmlns:a16="http://schemas.microsoft.com/office/drawing/2014/main" id="{89E50009-1B92-43EC-92E6-CB9C2D8224EC}"/>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4857148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mit Banner">
    <p:spTree>
      <p:nvGrpSpPr>
        <p:cNvPr id="1" name=""/>
        <p:cNvGrpSpPr/>
        <p:nvPr/>
      </p:nvGrpSpPr>
      <p:grpSpPr>
        <a:xfrm>
          <a:off x="0" y="0"/>
          <a:ext cx="0" cy="0"/>
          <a:chOff x="0" y="0"/>
          <a:chExt cx="0" cy="0"/>
        </a:xfrm>
      </p:grpSpPr>
      <p:sp>
        <p:nvSpPr>
          <p:cNvPr id="8" name="Bildplatzhalter 7">
            <a:extLst>
              <a:ext uri="{FF2B5EF4-FFF2-40B4-BE49-F238E27FC236}">
                <a16:creationId xmlns:a16="http://schemas.microsoft.com/office/drawing/2014/main" id="{18171CF6-F673-4A39-822A-64E64830DF2B}"/>
              </a:ext>
            </a:extLst>
          </p:cNvPr>
          <p:cNvSpPr>
            <a:spLocks noGrp="1"/>
          </p:cNvSpPr>
          <p:nvPr>
            <p:ph type="pic" sz="quarter" idx="10" hasCustomPrompt="1"/>
          </p:nvPr>
        </p:nvSpPr>
        <p:spPr>
          <a:xfrm>
            <a:off x="0" y="936000"/>
            <a:ext cx="9144000" cy="2707200"/>
          </a:xfrm>
          <a:prstGeom prst="rect">
            <a:avLst/>
          </a:prstGeom>
        </p:spPr>
        <p:txBody>
          <a:bodyPr/>
          <a:lstStyle>
            <a:lvl1pPr marL="0" indent="0" algn="ctr">
              <a:buFontTx/>
              <a:buNone/>
              <a:defRPr sz="1800"/>
            </a:lvl1pPr>
          </a:lstStyle>
          <a:p>
            <a:r>
              <a:rPr lang="de-DE"/>
              <a:t>Bild mit Klick auf das Symbol einfügen</a:t>
            </a:r>
          </a:p>
          <a:p>
            <a:r>
              <a:rPr lang="de-DE"/>
              <a:t>Eine Vorauswahl an Bildern liegt dem Material bei</a:t>
            </a:r>
          </a:p>
          <a:p>
            <a:r>
              <a:rPr lang="de-DE"/>
              <a:t>Eigene Gestaltungen sind möglich (Copyright beachten)</a:t>
            </a:r>
          </a:p>
        </p:txBody>
      </p:sp>
      <p:sp>
        <p:nvSpPr>
          <p:cNvPr id="10" name="Textplatzhalter 9">
            <a:extLst>
              <a:ext uri="{FF2B5EF4-FFF2-40B4-BE49-F238E27FC236}">
                <a16:creationId xmlns:a16="http://schemas.microsoft.com/office/drawing/2014/main" id="{BB8CB1B0-9B77-4351-BEC7-0D207FE318D2}"/>
              </a:ext>
            </a:extLst>
          </p:cNvPr>
          <p:cNvSpPr>
            <a:spLocks noGrp="1"/>
          </p:cNvSpPr>
          <p:nvPr>
            <p:ph type="body" sz="quarter" idx="11" hasCustomPrompt="1"/>
          </p:nvPr>
        </p:nvSpPr>
        <p:spPr>
          <a:xfrm>
            <a:off x="252000" y="4047277"/>
            <a:ext cx="6372000" cy="484312"/>
          </a:xfrm>
          <a:prstGeom prst="rect">
            <a:avLst/>
          </a:prstGeom>
        </p:spPr>
        <p:txBody>
          <a:bodyPr lIns="0" tIns="0" rIns="0" bIns="0"/>
          <a:lstStyle>
            <a:lvl1pPr marL="0" indent="0">
              <a:buNone/>
              <a:defRPr sz="2200" b="1">
                <a:solidFill>
                  <a:schemeClr val="bg1"/>
                </a:solidFill>
              </a:defRPr>
            </a:lvl1pPr>
          </a:lstStyle>
          <a:p>
            <a:pPr lvl="0"/>
            <a:r>
              <a:rPr lang="de-DE"/>
              <a:t>Titel</a:t>
            </a:r>
          </a:p>
        </p:txBody>
      </p:sp>
      <p:sp>
        <p:nvSpPr>
          <p:cNvPr id="11" name="Textplatzhalter 9">
            <a:extLst>
              <a:ext uri="{FF2B5EF4-FFF2-40B4-BE49-F238E27FC236}">
                <a16:creationId xmlns:a16="http://schemas.microsoft.com/office/drawing/2014/main" id="{848F5FDB-966D-48A9-8F9D-F874FB75D1A9}"/>
              </a:ext>
            </a:extLst>
          </p:cNvPr>
          <p:cNvSpPr>
            <a:spLocks noGrp="1"/>
          </p:cNvSpPr>
          <p:nvPr>
            <p:ph type="body" sz="quarter" idx="12" hasCustomPrompt="1"/>
          </p:nvPr>
        </p:nvSpPr>
        <p:spPr>
          <a:xfrm>
            <a:off x="252000" y="4654032"/>
            <a:ext cx="6372000" cy="473445"/>
          </a:xfrm>
          <a:prstGeom prst="rect">
            <a:avLst/>
          </a:prstGeom>
        </p:spPr>
        <p:txBody>
          <a:bodyPr lIns="0" tIns="0" rIns="0" bIns="0"/>
          <a:lstStyle>
            <a:lvl1pPr marL="0" indent="0">
              <a:buNone/>
              <a:defRPr sz="1800" b="1">
                <a:solidFill>
                  <a:schemeClr val="bg1"/>
                </a:solidFill>
              </a:defRPr>
            </a:lvl1pPr>
          </a:lstStyle>
          <a:p>
            <a:pPr lvl="0"/>
            <a:r>
              <a:rPr lang="de-DE" err="1"/>
              <a:t>Subtitel</a:t>
            </a:r>
            <a:endParaRPr lang="de-DE"/>
          </a:p>
        </p:txBody>
      </p:sp>
      <p:sp>
        <p:nvSpPr>
          <p:cNvPr id="13" name="Textplatzhalter 9">
            <a:extLst>
              <a:ext uri="{FF2B5EF4-FFF2-40B4-BE49-F238E27FC236}">
                <a16:creationId xmlns:a16="http://schemas.microsoft.com/office/drawing/2014/main" id="{2947E9A8-8C15-4CCD-9BCA-364EB75353FD}"/>
              </a:ext>
            </a:extLst>
          </p:cNvPr>
          <p:cNvSpPr>
            <a:spLocks noGrp="1"/>
          </p:cNvSpPr>
          <p:nvPr>
            <p:ph type="body" sz="quarter" idx="13"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29245556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ohne Banner">
    <p:spTree>
      <p:nvGrpSpPr>
        <p:cNvPr id="1" name=""/>
        <p:cNvGrpSpPr/>
        <p:nvPr/>
      </p:nvGrpSpPr>
      <p:grpSpPr>
        <a:xfrm>
          <a:off x="0" y="0"/>
          <a:ext cx="0" cy="0"/>
          <a:chOff x="0" y="0"/>
          <a:chExt cx="0" cy="0"/>
        </a:xfrm>
      </p:grpSpPr>
      <p:sp>
        <p:nvSpPr>
          <p:cNvPr id="5" name="Textplatzhalter 9">
            <a:extLst>
              <a:ext uri="{FF2B5EF4-FFF2-40B4-BE49-F238E27FC236}">
                <a16:creationId xmlns:a16="http://schemas.microsoft.com/office/drawing/2014/main" id="{CC4632DB-DFF5-47E9-B973-118479BB4FB7}"/>
              </a:ext>
            </a:extLst>
          </p:cNvPr>
          <p:cNvSpPr>
            <a:spLocks noGrp="1"/>
          </p:cNvSpPr>
          <p:nvPr>
            <p:ph type="body" sz="quarter" idx="13" hasCustomPrompt="1"/>
          </p:nvPr>
        </p:nvSpPr>
        <p:spPr>
          <a:xfrm>
            <a:off x="252000" y="1422000"/>
            <a:ext cx="6372000" cy="345263"/>
          </a:xfrm>
          <a:prstGeom prst="rect">
            <a:avLst/>
          </a:prstGeom>
        </p:spPr>
        <p:txBody>
          <a:bodyPr lIns="0" tIns="0" rIns="0" bIns="0"/>
          <a:lstStyle>
            <a:lvl1pPr marL="0" indent="0">
              <a:buNone/>
              <a:defRPr sz="2200" b="1">
                <a:solidFill>
                  <a:schemeClr val="tx2"/>
                </a:solidFill>
              </a:defRPr>
            </a:lvl1pPr>
          </a:lstStyle>
          <a:p>
            <a:pPr lvl="0"/>
            <a:r>
              <a:rPr lang="de-DE"/>
              <a:t>Titel</a:t>
            </a:r>
          </a:p>
        </p:txBody>
      </p:sp>
      <p:sp>
        <p:nvSpPr>
          <p:cNvPr id="6" name="Textplatzhalter 9">
            <a:extLst>
              <a:ext uri="{FF2B5EF4-FFF2-40B4-BE49-F238E27FC236}">
                <a16:creationId xmlns:a16="http://schemas.microsoft.com/office/drawing/2014/main" id="{98AF38D2-BB0C-40FA-983F-7776B0F5EC7F}"/>
              </a:ext>
            </a:extLst>
          </p:cNvPr>
          <p:cNvSpPr>
            <a:spLocks noGrp="1"/>
          </p:cNvSpPr>
          <p:nvPr>
            <p:ph type="body" sz="quarter" idx="14" hasCustomPrompt="1"/>
          </p:nvPr>
        </p:nvSpPr>
        <p:spPr>
          <a:xfrm>
            <a:off x="252000" y="2030400"/>
            <a:ext cx="6372000" cy="345263"/>
          </a:xfrm>
          <a:prstGeom prst="rect">
            <a:avLst/>
          </a:prstGeom>
        </p:spPr>
        <p:txBody>
          <a:bodyPr lIns="0" tIns="0" rIns="0" bIns="0"/>
          <a:lstStyle>
            <a:lvl1pPr marL="0" indent="0">
              <a:buNone/>
              <a:defRPr sz="1800" b="0">
                <a:solidFill>
                  <a:schemeClr val="tx2"/>
                </a:solidFill>
              </a:defRPr>
            </a:lvl1pPr>
          </a:lstStyle>
          <a:p>
            <a:pPr lvl="0"/>
            <a:r>
              <a:rPr lang="de-DE" err="1"/>
              <a:t>Subtitel</a:t>
            </a:r>
            <a:endParaRPr lang="de-DE"/>
          </a:p>
        </p:txBody>
      </p:sp>
      <p:sp>
        <p:nvSpPr>
          <p:cNvPr id="12" name="Textplatzhalter 9">
            <a:extLst>
              <a:ext uri="{FF2B5EF4-FFF2-40B4-BE49-F238E27FC236}">
                <a16:creationId xmlns:a16="http://schemas.microsoft.com/office/drawing/2014/main" id="{6E243483-D012-4F88-90DE-4A1A38CE192A}"/>
              </a:ext>
            </a:extLst>
          </p:cNvPr>
          <p:cNvSpPr>
            <a:spLocks noGrp="1"/>
          </p:cNvSpPr>
          <p:nvPr>
            <p:ph type="body" sz="quarter" idx="15" hasCustomPrompt="1"/>
          </p:nvPr>
        </p:nvSpPr>
        <p:spPr>
          <a:xfrm>
            <a:off x="252000" y="5249920"/>
            <a:ext cx="6372000" cy="1145137"/>
          </a:xfrm>
          <a:prstGeom prst="rect">
            <a:avLst/>
          </a:prstGeom>
        </p:spPr>
        <p:txBody>
          <a:bodyPr lIns="0" tIns="0" rIns="0" bIns="0"/>
          <a:lstStyle>
            <a:lvl1pPr marL="0" indent="0">
              <a:buNone/>
              <a:defRPr sz="1800" b="0">
                <a:solidFill>
                  <a:schemeClr val="bg1"/>
                </a:solidFill>
              </a:defRPr>
            </a:lvl1pPr>
          </a:lstStyle>
          <a:p>
            <a:pPr lvl="0"/>
            <a:r>
              <a:rPr lang="de-DE"/>
              <a:t>Autorenschaft</a:t>
            </a:r>
          </a:p>
        </p:txBody>
      </p:sp>
    </p:spTree>
    <p:extLst>
      <p:ext uri="{BB962C8B-B14F-4D97-AF65-F5344CB8AC3E}">
        <p14:creationId xmlns:p14="http://schemas.microsoft.com/office/powerpoint/2010/main" val="39371537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03338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97334887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liederung">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04AB2695-0266-47F0-ADA8-71BA5E328EDC}"/>
              </a:ext>
            </a:extLst>
          </p:cNvPr>
          <p:cNvSpPr>
            <a:spLocks noGrp="1"/>
          </p:cNvSpPr>
          <p:nvPr>
            <p:ph type="body" sz="quarter" idx="10" hasCustomPrompt="1"/>
          </p:nvPr>
        </p:nvSpPr>
        <p:spPr>
          <a:xfrm>
            <a:off x="252000" y="1116000"/>
            <a:ext cx="8640000" cy="5415819"/>
          </a:xfrm>
          <a:prstGeom prst="rect">
            <a:avLst/>
          </a:prstGeom>
        </p:spPr>
        <p:txBody>
          <a:bodyPr lIns="0" tIns="0" rIns="0" bIns="0"/>
          <a:lstStyle>
            <a:lvl1pPr marL="0" indent="-720000">
              <a:spcAft>
                <a:spcPts val="1200"/>
              </a:spcAft>
              <a:buClr>
                <a:schemeClr val="tx2"/>
              </a:buClr>
              <a:buSzPct val="100000"/>
              <a:buAutoNum type="arabicPeriod"/>
              <a:defRPr sz="2200" b="1">
                <a:solidFill>
                  <a:schemeClr val="tx1"/>
                </a:solidFill>
                <a:latin typeface="+mj-lt"/>
              </a:defRPr>
            </a:lvl1pPr>
          </a:lstStyle>
          <a:p>
            <a:pPr lvl="0"/>
            <a:r>
              <a:rPr lang="de-DE"/>
              <a:t>Kapitel 1</a:t>
            </a:r>
          </a:p>
          <a:p>
            <a:pPr lvl="0"/>
            <a:r>
              <a:rPr lang="de-DE"/>
              <a:t>Kapitel 2</a:t>
            </a:r>
          </a:p>
          <a:p>
            <a:pPr lvl="0"/>
            <a:r>
              <a:rPr lang="de-DE"/>
              <a:t>Kapitel 3</a:t>
            </a:r>
          </a:p>
        </p:txBody>
      </p:sp>
      <p:sp>
        <p:nvSpPr>
          <p:cNvPr id="12" name="Textfeld 11">
            <a:extLst>
              <a:ext uri="{FF2B5EF4-FFF2-40B4-BE49-F238E27FC236}">
                <a16:creationId xmlns:a16="http://schemas.microsoft.com/office/drawing/2014/main" id="{05676AEE-8D32-4703-B4BE-A61DF5AB84C3}"/>
              </a:ext>
            </a:extLst>
          </p:cNvPr>
          <p:cNvSpPr txBox="1"/>
          <p:nvPr userDrawn="1"/>
        </p:nvSpPr>
        <p:spPr>
          <a:xfrm>
            <a:off x="252000" y="324000"/>
            <a:ext cx="8640000" cy="396000"/>
          </a:xfrm>
          <a:prstGeom prst="rect">
            <a:avLst/>
          </a:prstGeom>
          <a:noFill/>
        </p:spPr>
        <p:txBody>
          <a:bodyPr wrap="square" lIns="0" tIns="0" rIns="0" bIns="0" rtlCol="0">
            <a:noAutofit/>
          </a:bodyPr>
          <a:lstStyle/>
          <a:p>
            <a:pPr marL="0" indent="0">
              <a:spcBef>
                <a:spcPts val="0"/>
              </a:spcBef>
            </a:pPr>
            <a:r>
              <a:rPr lang="de-DE" sz="2200" b="1">
                <a:solidFill>
                  <a:schemeClr val="tx2"/>
                </a:solidFill>
                <a:latin typeface="+mj-lt"/>
              </a:rPr>
              <a:t>Gliederung</a:t>
            </a:r>
            <a:endParaRPr lang="de-DE" sz="2200" b="1">
              <a:solidFill>
                <a:schemeClr val="tx2"/>
              </a:solidFill>
              <a:latin typeface="+mj-lt"/>
              <a:cs typeface="Calibri"/>
            </a:endParaRPr>
          </a:p>
        </p:txBody>
      </p:sp>
    </p:spTree>
    <p:extLst>
      <p:ext uri="{BB962C8B-B14F-4D97-AF65-F5344CB8AC3E}">
        <p14:creationId xmlns:p14="http://schemas.microsoft.com/office/powerpoint/2010/main" val="3791293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PhAnim="0" userDrawn="1">
  <p:cSld name="Zwischenfolie Überschrift + Content">
    <p:spTree>
      <p:nvGrpSpPr>
        <p:cNvPr id="1" name=""/>
        <p:cNvGrpSpPr/>
        <p:nvPr/>
      </p:nvGrpSpPr>
      <p:grpSpPr bwMode="auto">
        <a:xfrm>
          <a:off x="0" y="0"/>
          <a:ext cx="0" cy="0"/>
          <a:chOff x="0" y="0"/>
          <a:chExt cx="0" cy="0"/>
        </a:xfrm>
      </p:grpSpPr>
      <p:sp>
        <p:nvSpPr>
          <p:cNvPr id="11" name="Textplatzhalter 9"/>
          <p:cNvSpPr>
            <a:spLocks noGrp="1"/>
          </p:cNvSpPr>
          <p:nvPr>
            <p:ph idx="1" hasCustomPrompt="1"/>
          </p:nvPr>
        </p:nvSpPr>
        <p:spPr bwMode="auto">
          <a:xfrm>
            <a:off x="252000" y="900000"/>
            <a:ext cx="8640000" cy="5796000"/>
          </a:xfrm>
          <a:prstGeom prst="rect">
            <a:avLst/>
          </a:prstGeom>
        </p:spPr>
        <p:txBody>
          <a:bodyPr vert="horz" wrap="square" lIns="0" tIns="0" rIns="0" bIns="0" rtlCol="0">
            <a:noAutofit/>
          </a:bodyPr>
          <a:lstStyle>
            <a:lvl1pPr marL="215899" indent="-215899">
              <a:spcAft>
                <a:spcPts val="600"/>
              </a:spcAft>
              <a:buClr>
                <a:schemeClr val="accent1"/>
              </a:buClr>
              <a:buSzPct val="85000"/>
              <a:buFont typeface="Wingdings"/>
              <a:buChar char="§"/>
              <a:defRPr sz="1800">
                <a:solidFill>
                  <a:schemeClr val="accent1"/>
                </a:solidFill>
              </a:defRPr>
            </a:lvl1pPr>
            <a:lvl2pPr marL="432000" indent="-216000">
              <a:spcAft>
                <a:spcPts val="600"/>
              </a:spcAft>
              <a:buClr>
                <a:schemeClr val="accent1"/>
              </a:buClr>
              <a:buSzPct val="85000"/>
              <a:buFont typeface="Wingdings"/>
              <a:buChar char="§"/>
              <a:defRPr sz="1600">
                <a:solidFill>
                  <a:schemeClr val="accent1"/>
                </a:solidFill>
              </a:defRPr>
            </a:lvl2pPr>
            <a:lvl3pPr marL="432000" indent="-216000">
              <a:spcAft>
                <a:spcPts val="600"/>
              </a:spcAft>
              <a:buClr>
                <a:schemeClr val="accent1"/>
              </a:buClr>
              <a:buSzPct val="85000"/>
              <a:buFont typeface="Wingdings"/>
              <a:buChar char="§"/>
              <a:defRPr sz="1600">
                <a:solidFill>
                  <a:schemeClr val="accent1"/>
                </a:solidFill>
              </a:defRPr>
            </a:lvl3pPr>
            <a:lvl4pPr marL="432000" indent="-216000">
              <a:spcAft>
                <a:spcPts val="600"/>
              </a:spcAft>
              <a:buClr>
                <a:schemeClr val="accent1"/>
              </a:buClr>
              <a:buSzPct val="85000"/>
              <a:buFont typeface="Wingdings"/>
              <a:buChar char="§"/>
              <a:defRPr sz="1600">
                <a:solidFill>
                  <a:schemeClr val="accent1"/>
                </a:solidFill>
              </a:defRPr>
            </a:lvl4pPr>
            <a:lvl5pPr marL="432000" indent="-216000">
              <a:buClr>
                <a:schemeClr val="accent1"/>
              </a:buClr>
              <a:buSzPct val="85000"/>
              <a:buFont typeface="Wingdings"/>
              <a:buChar char="§"/>
              <a:defRPr sz="1600">
                <a:solidFill>
                  <a:schemeClr val="accent1"/>
                </a:solidFill>
              </a:defRPr>
            </a:lvl5pPr>
          </a:lstStyle>
          <a:p>
            <a:pPr lvl="0">
              <a:defRPr/>
            </a:pPr>
            <a:r>
              <a:rPr lang="de-DE"/>
              <a:t>Mastertextformat bearbeiten</a:t>
            </a:r>
            <a:endParaRPr/>
          </a:p>
          <a:p>
            <a:pPr lvl="1">
              <a:defRPr/>
            </a:pPr>
            <a:r>
              <a:rPr lang="de-DE"/>
              <a:t>Zweite Ebene</a:t>
            </a:r>
            <a:endParaRPr/>
          </a:p>
          <a:p>
            <a:pPr lvl="2">
              <a:defRPr/>
            </a:pPr>
            <a:r>
              <a:rPr lang="de-DE"/>
              <a:t>Dritte Ebene</a:t>
            </a:r>
            <a:endParaRPr/>
          </a:p>
          <a:p>
            <a:pPr lvl="3">
              <a:defRPr/>
            </a:pPr>
            <a:r>
              <a:rPr lang="de-DE"/>
              <a:t>Vierte Ebene</a:t>
            </a:r>
            <a:endParaRPr/>
          </a:p>
          <a:p>
            <a:pPr lvl="4">
              <a:defRPr/>
            </a:pPr>
            <a:r>
              <a:rPr lang="de-DE"/>
              <a:t>Fünfte Ebene</a:t>
            </a:r>
            <a:endParaRPr/>
          </a:p>
        </p:txBody>
      </p:sp>
      <p:sp>
        <p:nvSpPr>
          <p:cNvPr id="4" name="Titel 3"/>
          <p:cNvSpPr>
            <a:spLocks noGrp="1"/>
          </p:cNvSpPr>
          <p:nvPr>
            <p:ph type="title"/>
          </p:nvPr>
        </p:nvSpPr>
        <p:spPr bwMode="auto">
          <a:xfrm>
            <a:off x="252000" y="324000"/>
            <a:ext cx="8640000" cy="396000"/>
          </a:xfrm>
        </p:spPr>
        <p:txBody>
          <a:bodyPr anchor="t" anchorCtr="0"/>
          <a:lstStyle>
            <a:lvl1pPr>
              <a:defRPr sz="2200">
                <a:latin typeface="+mj-lt"/>
              </a:defRPr>
            </a:lvl1pPr>
          </a:lstStyle>
          <a:p>
            <a:pPr>
              <a:defRPr/>
            </a:pPr>
            <a:r>
              <a:rPr lang="de-DE"/>
              <a:t>Mastertitelformat bearbeiten</a:t>
            </a:r>
            <a:endParaRPr/>
          </a:p>
        </p:txBody>
      </p:sp>
    </p:spTree>
    <p:extLst>
      <p:ext uri="{BB962C8B-B14F-4D97-AF65-F5344CB8AC3E}">
        <p14:creationId xmlns:p14="http://schemas.microsoft.com/office/powerpoint/2010/main" val="2324749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Überschrift + 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900000"/>
            <a:ext cx="8640000" cy="5796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itel 3">
            <a:extLst>
              <a:ext uri="{FF2B5EF4-FFF2-40B4-BE49-F238E27FC236}">
                <a16:creationId xmlns:a16="http://schemas.microsoft.com/office/drawing/2014/main" id="{635533BD-50D8-4441-8D56-AAF77F52FC4E}"/>
              </a:ext>
            </a:extLst>
          </p:cNvPr>
          <p:cNvSpPr>
            <a:spLocks noGrp="1"/>
          </p:cNvSpPr>
          <p:nvPr>
            <p:ph type="title"/>
          </p:nvPr>
        </p:nvSpPr>
        <p:spPr>
          <a:xfrm>
            <a:off x="252000" y="324000"/>
            <a:ext cx="8640000" cy="396000"/>
          </a:xfrm>
        </p:spPr>
        <p:txBody>
          <a:bodyPr anchor="t" anchorCtr="0"/>
          <a:lstStyle>
            <a:lvl1pPr>
              <a:defRPr sz="2200">
                <a:latin typeface="+mj-lt"/>
              </a:defRPr>
            </a:lvl1pPr>
          </a:lstStyle>
          <a:p>
            <a:r>
              <a:rPr lang="de-DE"/>
              <a:t>Mastertitelformat bearbeiten</a:t>
            </a:r>
          </a:p>
        </p:txBody>
      </p:sp>
    </p:spTree>
    <p:extLst>
      <p:ext uri="{BB962C8B-B14F-4D97-AF65-F5344CB8AC3E}">
        <p14:creationId xmlns:p14="http://schemas.microsoft.com/office/powerpoint/2010/main" val="2805161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sp>
        <p:nvSpPr>
          <p:cNvPr id="11" name="Textplatzhalter 9">
            <a:extLst>
              <a:ext uri="{FF2B5EF4-FFF2-40B4-BE49-F238E27FC236}">
                <a16:creationId xmlns:a16="http://schemas.microsoft.com/office/drawing/2014/main" id="{382A8CDF-E0F1-4356-BDC8-74C86B2789D5}"/>
              </a:ext>
            </a:extLst>
          </p:cNvPr>
          <p:cNvSpPr>
            <a:spLocks noGrp="1"/>
          </p:cNvSpPr>
          <p:nvPr>
            <p:ph idx="1" hasCustomPrompt="1"/>
          </p:nvPr>
        </p:nvSpPr>
        <p:spPr>
          <a:xfrm>
            <a:off x="252000" y="324000"/>
            <a:ext cx="8640000" cy="6372000"/>
          </a:xfrm>
          <a:prstGeom prst="rect">
            <a:avLst/>
          </a:prstGeom>
        </p:spPr>
        <p:txBody>
          <a:bodyPr vert="horz" wrap="square" lIns="0" tIns="0" rIns="0" bIns="0" rtlCol="0">
            <a:noAutofit/>
          </a:bodyPr>
          <a:lstStyle>
            <a:lvl1pPr marL="215900" indent="-215900">
              <a:spcAft>
                <a:spcPts val="600"/>
              </a:spcAft>
              <a:buClr>
                <a:schemeClr val="accent1"/>
              </a:buClr>
              <a:buSzPct val="85000"/>
              <a:buFont typeface="Wingdings" panose="05000000000000000000" pitchFamily="2" charset="2"/>
              <a:buChar char="§"/>
              <a:defRPr sz="1800">
                <a:solidFill>
                  <a:schemeClr val="accent1"/>
                </a:solidFill>
              </a:defRPr>
            </a:lvl1pPr>
            <a:lvl2pPr marL="432000" indent="-216000">
              <a:spcAft>
                <a:spcPts val="600"/>
              </a:spcAft>
              <a:buClr>
                <a:schemeClr val="accent1"/>
              </a:buClr>
              <a:buSzPct val="85000"/>
              <a:buFont typeface="Wingdings" panose="05000000000000000000" pitchFamily="2" charset="2"/>
              <a:buChar char="§"/>
              <a:defRPr sz="1600">
                <a:solidFill>
                  <a:schemeClr val="accent1"/>
                </a:solidFill>
              </a:defRPr>
            </a:lvl2pPr>
            <a:lvl3pPr marL="432000" indent="-216000">
              <a:spcAft>
                <a:spcPts val="600"/>
              </a:spcAft>
              <a:buClr>
                <a:schemeClr val="accent1"/>
              </a:buClr>
              <a:buSzPct val="85000"/>
              <a:buFont typeface="Wingdings" panose="05000000000000000000" pitchFamily="2" charset="2"/>
              <a:buChar char="§"/>
              <a:defRPr sz="1600">
                <a:solidFill>
                  <a:schemeClr val="accent1"/>
                </a:solidFill>
              </a:defRPr>
            </a:lvl3pPr>
            <a:lvl4pPr marL="432000" indent="-216000">
              <a:spcAft>
                <a:spcPts val="600"/>
              </a:spcAft>
              <a:buClr>
                <a:schemeClr val="accent1"/>
              </a:buClr>
              <a:buSzPct val="85000"/>
              <a:buFont typeface="Wingdings" panose="05000000000000000000" pitchFamily="2" charset="2"/>
              <a:buChar char="§"/>
              <a:defRPr sz="1600">
                <a:solidFill>
                  <a:schemeClr val="accent1"/>
                </a:solidFill>
              </a:defRPr>
            </a:lvl4pPr>
            <a:lvl5pPr marL="432000" indent="-216000">
              <a:buClr>
                <a:schemeClr val="accent1"/>
              </a:buClr>
              <a:buSzPct val="85000"/>
              <a:buFont typeface="Wingdings" panose="05000000000000000000" pitchFamily="2" charset="2"/>
              <a:buChar char="§"/>
              <a:defRPr sz="1600">
                <a:solidFill>
                  <a:schemeClr val="accent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9475341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reie Gestaltun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149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Freie Gestaltung">
    <p:spTree>
      <p:nvGrpSpPr>
        <p:cNvPr id="1" name=""/>
        <p:cNvGrpSpPr/>
        <p:nvPr/>
      </p:nvGrpSpPr>
      <p:grpSpPr>
        <a:xfrm>
          <a:off x="0" y="0"/>
          <a:ext cx="0" cy="0"/>
          <a:chOff x="0" y="0"/>
          <a:chExt cx="0" cy="0"/>
        </a:xfrm>
      </p:grpSpPr>
      <p:sp>
        <p:nvSpPr>
          <p:cNvPr id="5" name="Textplatzhalter 8">
            <a:extLst>
              <a:ext uri="{FF2B5EF4-FFF2-40B4-BE49-F238E27FC236}">
                <a16:creationId xmlns:a16="http://schemas.microsoft.com/office/drawing/2014/main" id="{6DAB521F-F3FC-4F5C-87F5-26BA84C7865D}"/>
              </a:ext>
            </a:extLst>
          </p:cNvPr>
          <p:cNvSpPr>
            <a:spLocks noGrp="1"/>
          </p:cNvSpPr>
          <p:nvPr>
            <p:ph type="body" sz="quarter" idx="10" hasCustomPrompt="1"/>
          </p:nvPr>
        </p:nvSpPr>
        <p:spPr>
          <a:xfrm>
            <a:off x="108000" y="6642000"/>
            <a:ext cx="8928000" cy="216000"/>
          </a:xfrm>
          <a:prstGeom prst="rect">
            <a:avLst/>
          </a:prstGeom>
        </p:spPr>
        <p:txBody>
          <a:bodyPr lIns="0" tIns="0" rIns="0" bIns="0"/>
          <a:lstStyle>
            <a:lvl1pPr marL="0" indent="0" algn="r">
              <a:spcBef>
                <a:spcPts val="0"/>
              </a:spcBef>
              <a:spcAft>
                <a:spcPts val="0"/>
              </a:spcAft>
              <a:buNone/>
              <a:defRPr sz="1000">
                <a:solidFill>
                  <a:schemeClr val="bg1">
                    <a:lumMod val="50000"/>
                  </a:schemeClr>
                </a:solidFill>
              </a:defRPr>
            </a:lvl1pPr>
          </a:lstStyle>
          <a:p>
            <a:pPr lvl="0"/>
            <a:r>
              <a:rPr lang="de-DE"/>
              <a:t>(&lt;Quelle&gt;, &lt;Jahr&gt;), (Bildquelle: &lt;Quelle&gt;, &lt;Jahr&gt;)</a:t>
            </a:r>
          </a:p>
        </p:txBody>
      </p:sp>
    </p:spTree>
    <p:extLst>
      <p:ext uri="{BB962C8B-B14F-4D97-AF65-F5344CB8AC3E}">
        <p14:creationId xmlns:p14="http://schemas.microsoft.com/office/powerpoint/2010/main" val="31611409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3" Type="http://schemas.openxmlformats.org/officeDocument/2006/relationships/slideLayout" Target="../slideLayouts/slideLayout8.xml"/><Relationship Id="rId7" Type="http://schemas.openxmlformats.org/officeDocument/2006/relationships/slideLayout" Target="../slideLayouts/slideLayout1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2.png"/><Relationship Id="rId5" Type="http://schemas.openxmlformats.org/officeDocument/2006/relationships/slideLayout" Target="../slideLayouts/slideLayout10.xml"/><Relationship Id="rId10" Type="http://schemas.openxmlformats.org/officeDocument/2006/relationships/image" Target="../media/image1.png"/><Relationship Id="rId4" Type="http://schemas.openxmlformats.org/officeDocument/2006/relationships/slideLayout" Target="../slideLayouts/slideLayout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7.jpeg"/><Relationship Id="rId3" Type="http://schemas.openxmlformats.org/officeDocument/2006/relationships/slideLayout" Target="../slideLayouts/slideLayout16.xml"/><Relationship Id="rId7" Type="http://schemas.openxmlformats.org/officeDocument/2006/relationships/image" Target="../media/image6.png"/><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19.xml"/><Relationship Id="rId7" Type="http://schemas.openxmlformats.org/officeDocument/2006/relationships/image" Target="../media/image8.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4.xml"/><Relationship Id="rId9" Type="http://schemas.openxmlformats.org/officeDocument/2006/relationships/image" Target="../media/image10.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slideLayout" Target="../slideLayouts/slideLayout22.xml"/><Relationship Id="rId7" Type="http://schemas.openxmlformats.org/officeDocument/2006/relationships/image" Target="../media/image8.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theme" Target="../theme/theme5.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a:t>Mastertitelformat bearbeiten</a:t>
            </a:r>
          </a:p>
        </p:txBody>
      </p:sp>
    </p:spTree>
    <p:extLst>
      <p:ext uri="{BB962C8B-B14F-4D97-AF65-F5344CB8AC3E}">
        <p14:creationId xmlns:p14="http://schemas.microsoft.com/office/powerpoint/2010/main" val="25064501"/>
      </p:ext>
    </p:extLst>
  </p:cSld>
  <p:clrMap bg1="lt1" tx1="dk1" bg2="lt2" tx2="dk2" accent1="accent1" accent2="accent2" accent3="accent3" accent4="accent4" accent5="accent5" accent6="accent6" hlink="hlink" folHlink="folHlink"/>
  <p:sldLayoutIdLst>
    <p:sldLayoutId id="2147483745" r:id="rId1"/>
    <p:sldLayoutId id="2147483755" r:id="rId2"/>
    <p:sldLayoutId id="2147483744" r:id="rId3"/>
    <p:sldLayoutId id="2147483746" r:id="rId4"/>
    <p:sldLayoutId id="2147483772" r:id="rId5"/>
  </p:sldLayoutIdLst>
  <p:hf sldNum="0" hdr="0" dt="0"/>
  <p:txStyles>
    <p:titleStyle>
      <a:lvl1pPr algn="l" rtl="0" eaLnBrk="1" fontAlgn="base" hangingPunct="1">
        <a:spcBef>
          <a:spcPct val="0"/>
        </a:spcBef>
        <a:spcAft>
          <a:spcPct val="0"/>
        </a:spcAft>
        <a:defRPr sz="2200" b="1">
          <a:solidFill>
            <a:srgbClr val="327A86"/>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7"/>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8"/>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8"/>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8"/>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 name="Rectangle 17">
            <a:extLst>
              <a:ext uri="{FF2B5EF4-FFF2-40B4-BE49-F238E27FC236}">
                <a16:creationId xmlns:a16="http://schemas.microsoft.com/office/drawing/2014/main" id="{F8507B4C-A618-42D3-8D77-B3C591413FED}"/>
              </a:ext>
            </a:extLst>
          </p:cNvPr>
          <p:cNvSpPr>
            <a:spLocks noChangeArrowheads="1"/>
          </p:cNvSpPr>
          <p:nvPr userDrawn="1"/>
        </p:nvSpPr>
        <p:spPr bwMode="auto">
          <a:xfrm>
            <a:off x="0" y="0"/>
            <a:ext cx="9144000" cy="144000"/>
          </a:xfrm>
          <a:prstGeom prst="rect">
            <a:avLst/>
          </a:prstGeom>
          <a:solidFill>
            <a:schemeClr val="accent1"/>
          </a:solidFill>
          <a:ln w="9525">
            <a:noFill/>
            <a:miter lim="800000"/>
            <a:headEnd/>
            <a:tailEnd/>
          </a:ln>
        </p:spPr>
        <p:txBody>
          <a:bodyPr wrap="none" anchor="ctr">
            <a:prstTxWarp prst="textNoShape">
              <a:avLst/>
            </a:prstTxWarp>
          </a:bodyPr>
          <a:lstStyle/>
          <a:p>
            <a:endParaRPr lang="de-DE" b="0" i="0">
              <a:latin typeface="Calibri Normal" charset="0"/>
            </a:endParaRPr>
          </a:p>
        </p:txBody>
      </p:sp>
      <p:sp>
        <p:nvSpPr>
          <p:cNvPr id="4" name="Titelplatzhalter 3">
            <a:extLst>
              <a:ext uri="{FF2B5EF4-FFF2-40B4-BE49-F238E27FC236}">
                <a16:creationId xmlns:a16="http://schemas.microsoft.com/office/drawing/2014/main" id="{7FA8522D-0AE8-4959-AA60-6A22BFE2DF88}"/>
              </a:ext>
            </a:extLst>
          </p:cNvPr>
          <p:cNvSpPr>
            <a:spLocks noGrp="1"/>
          </p:cNvSpPr>
          <p:nvPr>
            <p:ph type="title"/>
          </p:nvPr>
        </p:nvSpPr>
        <p:spPr>
          <a:xfrm>
            <a:off x="252000" y="324000"/>
            <a:ext cx="8640000" cy="396000"/>
          </a:xfrm>
          <a:prstGeom prst="rect">
            <a:avLst/>
          </a:prstGeom>
        </p:spPr>
        <p:txBody>
          <a:bodyPr vert="horz" lIns="0" tIns="0" rIns="0" bIns="0" rtlCol="0" anchor="t" anchorCtr="0">
            <a:noAutofit/>
          </a:bodyPr>
          <a:lstStyle/>
          <a:p>
            <a:r>
              <a:rPr lang="de-DE"/>
              <a:t>Mastertitelformat bearbeiten</a:t>
            </a:r>
          </a:p>
        </p:txBody>
      </p:sp>
      <p:sp>
        <p:nvSpPr>
          <p:cNvPr id="2" name="Textfeld 1">
            <a:extLst>
              <a:ext uri="{FF2B5EF4-FFF2-40B4-BE49-F238E27FC236}">
                <a16:creationId xmlns:a16="http://schemas.microsoft.com/office/drawing/2014/main" id="{FFFFA397-5075-4704-AC03-52FA84968699}"/>
              </a:ext>
            </a:extLst>
          </p:cNvPr>
          <p:cNvSpPr txBox="1"/>
          <p:nvPr userDrawn="1"/>
        </p:nvSpPr>
        <p:spPr>
          <a:xfrm>
            <a:off x="7153275" y="0"/>
            <a:ext cx="1738725" cy="138499"/>
          </a:xfrm>
          <a:prstGeom prst="rect">
            <a:avLst/>
          </a:prstGeom>
          <a:noFill/>
        </p:spPr>
        <p:txBody>
          <a:bodyPr wrap="square" lIns="0" tIns="0" rIns="0" bIns="0" rtlCol="0">
            <a:spAutoFit/>
          </a:bodyPr>
          <a:lstStyle/>
          <a:p>
            <a:pPr marL="342900" indent="-342900" algn="r">
              <a:spcBef>
                <a:spcPts val="400"/>
              </a:spcBef>
            </a:pPr>
            <a:r>
              <a:rPr lang="de-DE" sz="900" b="1" kern="1200" spc="0" baseline="0">
                <a:solidFill>
                  <a:schemeClr val="bg1"/>
                </a:solidFill>
                <a:latin typeface="Calibri"/>
                <a:cs typeface="Calibri"/>
              </a:rPr>
              <a:t>ZWISCHENFOLIE FÜR FORTBILDENDE</a:t>
            </a:r>
          </a:p>
        </p:txBody>
      </p:sp>
    </p:spTree>
    <p:extLst>
      <p:ext uri="{BB962C8B-B14F-4D97-AF65-F5344CB8AC3E}">
        <p14:creationId xmlns:p14="http://schemas.microsoft.com/office/powerpoint/2010/main" val="1198035203"/>
      </p:ext>
    </p:extLst>
  </p:cSld>
  <p:clrMap bg1="lt1" tx1="dk1" bg2="lt2" tx2="dk2" accent1="accent1" accent2="accent2" accent3="accent3" accent4="accent4" accent5="accent5" accent6="accent6" hlink="hlink" folHlink="folHlink"/>
  <p:sldLayoutIdLst>
    <p:sldLayoutId id="2147483752" r:id="rId1"/>
    <p:sldLayoutId id="2147483754" r:id="rId2"/>
    <p:sldLayoutId id="2147483753" r:id="rId3"/>
    <p:sldLayoutId id="2147483764" r:id="rId4"/>
    <p:sldLayoutId id="2147483767" r:id="rId5"/>
    <p:sldLayoutId id="2147483771" r:id="rId6"/>
    <p:sldLayoutId id="2147483773" r:id="rId7"/>
    <p:sldLayoutId id="2147483777" r:id="rId8"/>
  </p:sldLayoutIdLst>
  <p:hf sldNum="0" hdr="0" dt="0"/>
  <p:txStyles>
    <p:titleStyle>
      <a:lvl1pPr algn="l" rtl="0" eaLnBrk="1" fontAlgn="base" hangingPunct="1">
        <a:spcBef>
          <a:spcPct val="0"/>
        </a:spcBef>
        <a:spcAft>
          <a:spcPct val="0"/>
        </a:spcAft>
        <a:defRPr sz="2200" b="1">
          <a:solidFill>
            <a:schemeClr val="accent1"/>
          </a:solidFill>
          <a:latin typeface="Calibri"/>
          <a:ea typeface="+mj-ea"/>
          <a:cs typeface="Calibri"/>
        </a:defRPr>
      </a:lvl1pPr>
      <a:lvl2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2pPr>
      <a:lvl3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3pPr>
      <a:lvl4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4pPr>
      <a:lvl5pPr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5pPr>
      <a:lvl6pPr marL="4572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6pPr>
      <a:lvl7pPr marL="9144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7pPr>
      <a:lvl8pPr marL="13716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8pPr>
      <a:lvl9pPr marL="1828800" algn="l" rtl="0" eaLnBrk="1" fontAlgn="base" hangingPunct="1">
        <a:spcBef>
          <a:spcPct val="0"/>
        </a:spcBef>
        <a:spcAft>
          <a:spcPct val="0"/>
        </a:spcAft>
        <a:defRPr sz="3200">
          <a:solidFill>
            <a:schemeClr val="tx2"/>
          </a:solidFill>
          <a:latin typeface="Arial" charset="0"/>
          <a:ea typeface="ＭＳ Ｐゴシック" charset="-128"/>
          <a:cs typeface="ＭＳ Ｐゴシック" charset="-128"/>
        </a:defRPr>
      </a:lvl9pPr>
    </p:titleStyle>
    <p:bodyStyle>
      <a:lvl1pPr marL="342000" indent="-342900" algn="l" rtl="0" eaLnBrk="1" fontAlgn="base" hangingPunct="1">
        <a:lnSpc>
          <a:spcPct val="100000"/>
        </a:lnSpc>
        <a:spcBef>
          <a:spcPts val="576"/>
        </a:spcBef>
        <a:spcAft>
          <a:spcPts val="600"/>
        </a:spcAft>
        <a:buClr>
          <a:srgbClr val="327A86"/>
        </a:buClr>
        <a:buFont typeface="Wingdings" charset="2"/>
        <a:buChar char="§"/>
        <a:defRPr sz="2000">
          <a:solidFill>
            <a:schemeClr val="tx1"/>
          </a:solidFill>
          <a:latin typeface="Calibri"/>
          <a:ea typeface="+mn-ea"/>
          <a:cs typeface="Calibri"/>
        </a:defRPr>
      </a:lvl1pPr>
      <a:lvl2pPr marL="742950" indent="-285750" algn="l" rtl="0" eaLnBrk="1" fontAlgn="base" hangingPunct="1">
        <a:lnSpc>
          <a:spcPct val="100000"/>
        </a:lnSpc>
        <a:spcBef>
          <a:spcPct val="20000"/>
        </a:spcBef>
        <a:spcAft>
          <a:spcPts val="600"/>
        </a:spcAft>
        <a:buClr>
          <a:srgbClr val="737373"/>
        </a:buClr>
        <a:buFont typeface="Wingdings" charset="2"/>
        <a:buChar char="§"/>
        <a:defRPr sz="1800">
          <a:solidFill>
            <a:schemeClr val="tx1"/>
          </a:solidFill>
          <a:latin typeface="Calibri"/>
          <a:ea typeface="+mn-ea"/>
          <a:cs typeface="Calibri"/>
        </a:defRPr>
      </a:lvl2pPr>
      <a:lvl3pPr marL="1143000" indent="-228600" algn="l" rtl="0" eaLnBrk="1" fontAlgn="base" hangingPunct="1">
        <a:lnSpc>
          <a:spcPct val="100000"/>
        </a:lnSpc>
        <a:spcBef>
          <a:spcPct val="20000"/>
        </a:spcBef>
        <a:spcAft>
          <a:spcPts val="600"/>
        </a:spcAft>
        <a:buClr>
          <a:srgbClr val="CBB98A"/>
        </a:buClr>
        <a:buFont typeface="Wingdings" charset="2"/>
        <a:buChar char="§"/>
        <a:defRPr>
          <a:solidFill>
            <a:schemeClr val="tx1"/>
          </a:solidFill>
          <a:latin typeface="Calibri"/>
          <a:ea typeface="+mn-ea"/>
          <a:cs typeface="Calibri"/>
        </a:defRPr>
      </a:lvl3pPr>
      <a:lvl4pPr marL="16002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4pPr>
      <a:lvl5pPr marL="2057400" indent="-228600" algn="l" rtl="0" eaLnBrk="1" fontAlgn="base" hangingPunct="1">
        <a:lnSpc>
          <a:spcPct val="100000"/>
        </a:lnSpc>
        <a:spcBef>
          <a:spcPct val="20000"/>
        </a:spcBef>
        <a:spcAft>
          <a:spcPts val="600"/>
        </a:spcAft>
        <a:buClr>
          <a:srgbClr val="CBB98A"/>
        </a:buClr>
        <a:buFont typeface="Wingdings" charset="2"/>
        <a:buChar char="§"/>
        <a:defRPr sz="18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10"/>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11"/>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11"/>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11"/>
        </a:buBlip>
        <a:defRPr sz="1200">
          <a:solidFill>
            <a:schemeClr val="tx1"/>
          </a:solidFill>
          <a:latin typeface="+mn-lt"/>
          <a:ea typeface="+mn-ea"/>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hteck 8">
            <a:extLst>
              <a:ext uri="{FF2B5EF4-FFF2-40B4-BE49-F238E27FC236}">
                <a16:creationId xmlns:a16="http://schemas.microsoft.com/office/drawing/2014/main" id="{1185B172-FBE3-4EA2-9C08-174A70147161}"/>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3" name="Rechteck 12">
            <a:extLst>
              <a:ext uri="{FF2B5EF4-FFF2-40B4-BE49-F238E27FC236}">
                <a16:creationId xmlns:a16="http://schemas.microsoft.com/office/drawing/2014/main" id="{25A49143-C955-426A-9878-C1EEEA4EEC69}"/>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7" name="Rectangle 17">
            <a:extLst>
              <a:ext uri="{FF2B5EF4-FFF2-40B4-BE49-F238E27FC236}">
                <a16:creationId xmlns:a16="http://schemas.microsoft.com/office/drawing/2014/main" id="{AA64F385-97A8-4A4D-B566-C139951D389F}"/>
              </a:ext>
            </a:extLst>
          </p:cNvPr>
          <p:cNvSpPr>
            <a:spLocks noChangeArrowheads="1"/>
          </p:cNvSpPr>
          <p:nvPr userDrawn="1"/>
        </p:nvSpPr>
        <p:spPr bwMode="auto">
          <a:xfrm>
            <a:off x="0" y="0"/>
            <a:ext cx="9144000" cy="548680"/>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8" name="Rectangle 19">
            <a:extLst>
              <a:ext uri="{FF2B5EF4-FFF2-40B4-BE49-F238E27FC236}">
                <a16:creationId xmlns:a16="http://schemas.microsoft.com/office/drawing/2014/main" id="{04E81346-D59C-47B8-B2B9-FAA0FD2B5E0E}"/>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2" name="Textfeld 11">
            <a:extLst>
              <a:ext uri="{FF2B5EF4-FFF2-40B4-BE49-F238E27FC236}">
                <a16:creationId xmlns:a16="http://schemas.microsoft.com/office/drawing/2014/main" id="{63680BB3-DD9A-46F8-91B5-DA95B1555A75}"/>
              </a:ext>
            </a:extLst>
          </p:cNvPr>
          <p:cNvSpPr txBox="1"/>
          <p:nvPr userDrawn="1"/>
        </p:nvSpPr>
        <p:spPr>
          <a:xfrm>
            <a:off x="7257504" y="5072600"/>
            <a:ext cx="1269752" cy="129065"/>
          </a:xfrm>
          <a:prstGeom prst="rect">
            <a:avLst/>
          </a:prstGeom>
          <a:noFill/>
        </p:spPr>
        <p:txBody>
          <a:bodyPr wrap="square" lIns="0" tIns="0" rIns="0" bIns="0" rtlCol="0">
            <a:noAutofit/>
          </a:bodyPr>
          <a:lstStyle/>
          <a:p>
            <a:pPr algn="l"/>
            <a:r>
              <a:rPr lang="de-DE" sz="850">
                <a:solidFill>
                  <a:prstClr val="black"/>
                </a:solidFill>
                <a:latin typeface="+mn-lt"/>
              </a:rPr>
              <a:t>Seit 2021 ein Projekt des</a:t>
            </a:r>
          </a:p>
        </p:txBody>
      </p:sp>
      <p:sp>
        <p:nvSpPr>
          <p:cNvPr id="14" name="Rechteck 13">
            <a:extLst>
              <a:ext uri="{FF2B5EF4-FFF2-40B4-BE49-F238E27FC236}">
                <a16:creationId xmlns:a16="http://schemas.microsoft.com/office/drawing/2014/main" id="{86393A16-8CC6-459E-A439-595C42BC82D2}"/>
              </a:ext>
            </a:extLst>
          </p:cNvPr>
          <p:cNvSpPr/>
          <p:nvPr userDrawn="1"/>
        </p:nvSpPr>
        <p:spPr bwMode="auto">
          <a:xfrm>
            <a:off x="7257505" y="5296045"/>
            <a:ext cx="1980500" cy="590405"/>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23" name="Grafik 22" descr="Ein Bild, das Zeichnung enthält.&#10;&#10;Automatisch generierte Beschreibung">
            <a:extLst>
              <a:ext uri="{FF2B5EF4-FFF2-40B4-BE49-F238E27FC236}">
                <a16:creationId xmlns:a16="http://schemas.microsoft.com/office/drawing/2014/main" id="{A244FC2D-389F-438A-BBC0-226D82B96114}"/>
              </a:ext>
            </a:extLst>
          </p:cNvPr>
          <p:cNvPicPr>
            <a:picLocks noChangeAspect="1"/>
          </p:cNvPicPr>
          <p:nvPr userDrawn="1"/>
        </p:nvPicPr>
        <p:blipFill>
          <a:blip r:embed="rId5"/>
          <a:stretch>
            <a:fillRect/>
          </a:stretch>
        </p:blipFill>
        <p:spPr>
          <a:xfrm>
            <a:off x="8259824" y="6249752"/>
            <a:ext cx="750217" cy="262483"/>
          </a:xfrm>
          <a:prstGeom prst="rect">
            <a:avLst/>
          </a:prstGeom>
        </p:spPr>
      </p:pic>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6"/>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7"/>
          <a:stretch>
            <a:fillRect/>
          </a:stretch>
        </p:blipFill>
        <p:spPr>
          <a:xfrm>
            <a:off x="7257504" y="4247646"/>
            <a:ext cx="1764000" cy="313277"/>
          </a:xfrm>
          <a:prstGeom prst="rect">
            <a:avLst/>
          </a:prstGeom>
        </p:spPr>
      </p:pic>
      <p:pic>
        <p:nvPicPr>
          <p:cNvPr id="45" name="Grafik 44" descr="Ein Bild, das Text enthält.&#10;&#10;Automatisch generierte Beschreibung">
            <a:extLst>
              <a:ext uri="{FF2B5EF4-FFF2-40B4-BE49-F238E27FC236}">
                <a16:creationId xmlns:a16="http://schemas.microsoft.com/office/drawing/2014/main" id="{4303B519-EA4B-4EA2-B6CA-F2B777F94655}"/>
              </a:ext>
            </a:extLst>
          </p:cNvPr>
          <p:cNvPicPr>
            <a:picLocks noChangeAspect="1"/>
          </p:cNvPicPr>
          <p:nvPr userDrawn="1"/>
        </p:nvPicPr>
        <p:blipFill>
          <a:blip r:embed="rId8"/>
          <a:stretch>
            <a:fillRect/>
          </a:stretch>
        </p:blipFill>
        <p:spPr>
          <a:xfrm>
            <a:off x="7278668" y="5340846"/>
            <a:ext cx="1720800" cy="503910"/>
          </a:xfrm>
          <a:prstGeom prst="rect">
            <a:avLst/>
          </a:prstGeom>
        </p:spPr>
      </p:pic>
    </p:spTree>
    <p:extLst>
      <p:ext uri="{BB962C8B-B14F-4D97-AF65-F5344CB8AC3E}">
        <p14:creationId xmlns:p14="http://schemas.microsoft.com/office/powerpoint/2010/main" val="3001747661"/>
      </p:ext>
    </p:extLst>
  </p:cSld>
  <p:clrMap bg1="lt1" tx1="dk1" bg2="lt2" tx2="dk2" accent1="accent1" accent2="accent2" accent3="accent3" accent4="accent4" accent5="accent5" accent6="accent6" hlink="hlink" folHlink="folHlink"/>
  <p:sldLayoutIdLst>
    <p:sldLayoutId id="2147483748" r:id="rId1"/>
    <p:sldLayoutId id="2147483749" r:id="rId2"/>
    <p:sldLayoutId id="2147483750"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119813"/>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204511"/>
            <a:ext cx="2814542" cy="327600"/>
          </a:xfrm>
          <a:prstGeom prst="rect">
            <a:avLst/>
          </a:prstGeom>
        </p:spPr>
      </p:pic>
    </p:spTree>
    <p:extLst>
      <p:ext uri="{BB962C8B-B14F-4D97-AF65-F5344CB8AC3E}">
        <p14:creationId xmlns:p14="http://schemas.microsoft.com/office/powerpoint/2010/main" val="2803214256"/>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hteck 11">
            <a:extLst>
              <a:ext uri="{FF2B5EF4-FFF2-40B4-BE49-F238E27FC236}">
                <a16:creationId xmlns:a16="http://schemas.microsoft.com/office/drawing/2014/main" id="{52D288C3-76E7-407C-93DF-B1113D92C85D}"/>
              </a:ext>
            </a:extLst>
          </p:cNvPr>
          <p:cNvSpPr/>
          <p:nvPr userDrawn="1"/>
        </p:nvSpPr>
        <p:spPr bwMode="auto">
          <a:xfrm>
            <a:off x="7056271" y="3787878"/>
            <a:ext cx="2087730" cy="2940722"/>
          </a:xfrm>
          <a:prstGeom prst="rect">
            <a:avLst/>
          </a:prstGeom>
          <a:solidFill>
            <a:srgbClr val="C8D2D8"/>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b="0" i="0">
              <a:solidFill>
                <a:prstClr val="black"/>
              </a:solidFill>
              <a:latin typeface="Calibri Normal" charset="0"/>
            </a:endParaRPr>
          </a:p>
        </p:txBody>
      </p:sp>
      <p:sp>
        <p:nvSpPr>
          <p:cNvPr id="14" name="Rectangle 19">
            <a:extLst>
              <a:ext uri="{FF2B5EF4-FFF2-40B4-BE49-F238E27FC236}">
                <a16:creationId xmlns:a16="http://schemas.microsoft.com/office/drawing/2014/main" id="{D85768C5-BBB6-4ACD-A6A0-97D1C115FFC4}"/>
              </a:ext>
            </a:extLst>
          </p:cNvPr>
          <p:cNvSpPr>
            <a:spLocks noChangeArrowheads="1"/>
          </p:cNvSpPr>
          <p:nvPr userDrawn="1"/>
        </p:nvSpPr>
        <p:spPr bwMode="auto">
          <a:xfrm>
            <a:off x="0" y="3789036"/>
            <a:ext cx="6911738" cy="2939564"/>
          </a:xfrm>
          <a:prstGeom prst="rect">
            <a:avLst/>
          </a:prstGeom>
          <a:solidFill>
            <a:srgbClr val="327A86"/>
          </a:solidFill>
          <a:ln w="9525">
            <a:noFill/>
            <a:miter lim="800000"/>
            <a:headEnd/>
            <a:tailEnd/>
          </a:ln>
        </p:spPr>
        <p:txBody>
          <a:bodyPr wrap="none" anchor="ctr">
            <a:prstTxWarp prst="textNoShape">
              <a:avLst/>
            </a:prstTxWarp>
          </a:bodyPr>
          <a:lstStyle/>
          <a:p>
            <a:endParaRPr lang="de-DE" b="0" i="0">
              <a:solidFill>
                <a:prstClr val="black"/>
              </a:solidFill>
              <a:latin typeface="Calibri Normal" charset="0"/>
            </a:endParaRPr>
          </a:p>
        </p:txBody>
      </p:sp>
      <p:sp>
        <p:nvSpPr>
          <p:cNvPr id="18" name="Rechteck 17">
            <a:extLst>
              <a:ext uri="{FF2B5EF4-FFF2-40B4-BE49-F238E27FC236}">
                <a16:creationId xmlns:a16="http://schemas.microsoft.com/office/drawing/2014/main" id="{25F497F7-8ECD-4FA3-AC9E-393670747EBE}"/>
              </a:ext>
            </a:extLst>
          </p:cNvPr>
          <p:cNvSpPr/>
          <p:nvPr userDrawn="1"/>
        </p:nvSpPr>
        <p:spPr bwMode="auto">
          <a:xfrm>
            <a:off x="7257504" y="4251791"/>
            <a:ext cx="1980500" cy="309132"/>
          </a:xfrm>
          <a:prstGeom prst="rect">
            <a:avLst/>
          </a:prstGeom>
          <a:solidFill>
            <a:schemeClr val="bg1"/>
          </a:solidFill>
          <a:ln w="9525" cap="flat" cmpd="sng" algn="ctr">
            <a:noFill/>
            <a:prstDash val="solid"/>
            <a:round/>
            <a:headEnd type="none" w="med" len="med"/>
            <a:tailEnd type="none" w="med" len="med"/>
          </a:ln>
          <a:effectLst>
            <a:outerShdw blurRad="50800" dist="38100" dir="8100000" algn="tr" rotWithShape="0">
              <a:prstClr val="black">
                <a:alpha val="40000"/>
              </a:prstClr>
            </a:outerShdw>
          </a:effectLst>
          <a:scene3d>
            <a:camera prst="orthographicFront"/>
            <a:lightRig rig="glow" dir="t"/>
          </a:scene3d>
          <a:sp3d/>
        </p:spPr>
        <p:txBody>
          <a:bodyPr vert="horz" wrap="square" lIns="91440" tIns="45720" rIns="91440" bIns="45720" numCol="1" rtlCol="0" anchor="t" anchorCtr="0" compatLnSpc="1">
            <a:prstTxWarp prst="textNoShape">
              <a:avLst/>
            </a:prstTxWarp>
          </a:bodyPr>
          <a:lstStyle/>
          <a:p>
            <a:endParaRPr lang="de-DE" sz="2000" err="1">
              <a:solidFill>
                <a:prstClr val="black"/>
              </a:solidFill>
              <a:latin typeface="Calibri" panose="020F0502020204030204" pitchFamily="34" charset="0"/>
            </a:endParaRPr>
          </a:p>
        </p:txBody>
      </p:sp>
      <p:sp>
        <p:nvSpPr>
          <p:cNvPr id="21" name="Textfeld 20">
            <a:extLst>
              <a:ext uri="{FF2B5EF4-FFF2-40B4-BE49-F238E27FC236}">
                <a16:creationId xmlns:a16="http://schemas.microsoft.com/office/drawing/2014/main" id="{D7B45DEC-5611-418C-AF8C-DA0526017497}"/>
              </a:ext>
            </a:extLst>
          </p:cNvPr>
          <p:cNvSpPr txBox="1"/>
          <p:nvPr userDrawn="1"/>
        </p:nvSpPr>
        <p:spPr>
          <a:xfrm>
            <a:off x="7257504" y="4028600"/>
            <a:ext cx="1772742" cy="129065"/>
          </a:xfrm>
          <a:prstGeom prst="rect">
            <a:avLst/>
          </a:prstGeom>
          <a:noFill/>
        </p:spPr>
        <p:txBody>
          <a:bodyPr wrap="square" lIns="0" tIns="0" rIns="0" bIns="0" rtlCol="0">
            <a:no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lang="de-DE" sz="850">
                <a:solidFill>
                  <a:prstClr val="black"/>
                </a:solidFill>
                <a:latin typeface="+mn-lt"/>
              </a:rPr>
              <a:t>Das DZLM wurde initiiert durch</a:t>
            </a:r>
          </a:p>
        </p:txBody>
      </p:sp>
      <p:pic>
        <p:nvPicPr>
          <p:cNvPr id="33" name="Grafik 32">
            <a:extLst>
              <a:ext uri="{FF2B5EF4-FFF2-40B4-BE49-F238E27FC236}">
                <a16:creationId xmlns:a16="http://schemas.microsoft.com/office/drawing/2014/main" id="{8FFC185C-665F-465C-9F56-F2B9CCB0E842}"/>
              </a:ext>
            </a:extLst>
          </p:cNvPr>
          <p:cNvPicPr>
            <a:picLocks noChangeAspect="1"/>
          </p:cNvPicPr>
          <p:nvPr userDrawn="1"/>
        </p:nvPicPr>
        <p:blipFill>
          <a:blip r:embed="rId5"/>
          <a:stretch>
            <a:fillRect/>
          </a:stretch>
        </p:blipFill>
        <p:spPr>
          <a:xfrm>
            <a:off x="252000" y="98528"/>
            <a:ext cx="2812232" cy="326922"/>
          </a:xfrm>
          <a:prstGeom prst="rect">
            <a:avLst/>
          </a:prstGeom>
        </p:spPr>
      </p:pic>
      <p:pic>
        <p:nvPicPr>
          <p:cNvPr id="43" name="Grafik 42" descr="Ein Bild, das Text enthält.&#10;&#10;Automatisch generierte Beschreibung">
            <a:extLst>
              <a:ext uri="{FF2B5EF4-FFF2-40B4-BE49-F238E27FC236}">
                <a16:creationId xmlns:a16="http://schemas.microsoft.com/office/drawing/2014/main" id="{344B0634-37C1-4EE7-AB90-5EE6D9708072}"/>
              </a:ext>
            </a:extLst>
          </p:cNvPr>
          <p:cNvPicPr>
            <a:picLocks noChangeAspect="1"/>
          </p:cNvPicPr>
          <p:nvPr userDrawn="1"/>
        </p:nvPicPr>
        <p:blipFill>
          <a:blip r:embed="rId6"/>
          <a:stretch>
            <a:fillRect/>
          </a:stretch>
        </p:blipFill>
        <p:spPr>
          <a:xfrm>
            <a:off x="7257504" y="4247646"/>
            <a:ext cx="1764000" cy="313277"/>
          </a:xfrm>
          <a:prstGeom prst="rect">
            <a:avLst/>
          </a:prstGeom>
        </p:spPr>
      </p:pic>
      <p:grpSp>
        <p:nvGrpSpPr>
          <p:cNvPr id="13" name="Gruppieren 12">
            <a:extLst>
              <a:ext uri="{FF2B5EF4-FFF2-40B4-BE49-F238E27FC236}">
                <a16:creationId xmlns:a16="http://schemas.microsoft.com/office/drawing/2014/main" id="{7BD18C07-A9AC-4500-AE30-B941923EA9EE}"/>
              </a:ext>
            </a:extLst>
          </p:cNvPr>
          <p:cNvGrpSpPr>
            <a:grpSpLocks noChangeAspect="1"/>
          </p:cNvGrpSpPr>
          <p:nvPr userDrawn="1"/>
        </p:nvGrpSpPr>
        <p:grpSpPr>
          <a:xfrm>
            <a:off x="6109200" y="262800"/>
            <a:ext cx="2783442" cy="518450"/>
            <a:chOff x="5148064" y="468000"/>
            <a:chExt cx="3575602" cy="666000"/>
          </a:xfrm>
        </p:grpSpPr>
        <p:pic>
          <p:nvPicPr>
            <p:cNvPr id="15" name="Grafik 14">
              <a:extLst>
                <a:ext uri="{FF2B5EF4-FFF2-40B4-BE49-F238E27FC236}">
                  <a16:creationId xmlns:a16="http://schemas.microsoft.com/office/drawing/2014/main" id="{4BBEAAA8-F70F-4536-92FB-37C6B39FD89C}"/>
                </a:ext>
              </a:extLst>
            </p:cNvPr>
            <p:cNvPicPr>
              <a:picLocks noChangeAspect="1"/>
            </p:cNvPicPr>
            <p:nvPr userDrawn="1"/>
          </p:nvPicPr>
          <p:blipFill>
            <a:blip r:embed="rId7"/>
            <a:stretch>
              <a:fillRect/>
            </a:stretch>
          </p:blipFill>
          <p:spPr>
            <a:xfrm>
              <a:off x="6299446" y="469857"/>
              <a:ext cx="2424220" cy="659594"/>
            </a:xfrm>
            <a:prstGeom prst="rect">
              <a:avLst/>
            </a:prstGeom>
          </p:spPr>
        </p:pic>
        <p:pic>
          <p:nvPicPr>
            <p:cNvPr id="16" name="Grafik 15">
              <a:extLst>
                <a:ext uri="{FF2B5EF4-FFF2-40B4-BE49-F238E27FC236}">
                  <a16:creationId xmlns:a16="http://schemas.microsoft.com/office/drawing/2014/main" id="{88240224-7C0D-46FE-94EE-0B73986AE520}"/>
                </a:ext>
              </a:extLst>
            </p:cNvPr>
            <p:cNvPicPr>
              <a:picLocks noChangeAspect="1"/>
            </p:cNvPicPr>
            <p:nvPr userDrawn="1"/>
          </p:nvPicPr>
          <p:blipFill>
            <a:blip r:embed="rId8"/>
            <a:stretch>
              <a:fillRect/>
            </a:stretch>
          </p:blipFill>
          <p:spPr>
            <a:xfrm>
              <a:off x="5148064" y="468000"/>
              <a:ext cx="839245" cy="666000"/>
            </a:xfrm>
            <a:prstGeom prst="rect">
              <a:avLst/>
            </a:prstGeom>
          </p:spPr>
        </p:pic>
      </p:grpSp>
      <p:pic>
        <p:nvPicPr>
          <p:cNvPr id="3" name="Grafik 2" descr="Ein Bild, das Text enthält.&#10;&#10;Automatisch generierte Beschreibung">
            <a:extLst>
              <a:ext uri="{FF2B5EF4-FFF2-40B4-BE49-F238E27FC236}">
                <a16:creationId xmlns:a16="http://schemas.microsoft.com/office/drawing/2014/main" id="{35A958EA-A893-45A9-8A6C-0FE8B0B3DFF4}"/>
              </a:ext>
            </a:extLst>
          </p:cNvPr>
          <p:cNvPicPr>
            <a:picLocks noChangeAspect="1"/>
          </p:cNvPicPr>
          <p:nvPr userDrawn="1"/>
        </p:nvPicPr>
        <p:blipFill>
          <a:blip r:embed="rId9"/>
          <a:stretch>
            <a:fillRect/>
          </a:stretch>
        </p:blipFill>
        <p:spPr>
          <a:xfrm>
            <a:off x="251358" y="349200"/>
            <a:ext cx="2814542" cy="327600"/>
          </a:xfrm>
          <a:prstGeom prst="rect">
            <a:avLst/>
          </a:prstGeom>
        </p:spPr>
      </p:pic>
      <p:sp>
        <p:nvSpPr>
          <p:cNvPr id="20" name="Rectangle 17">
            <a:extLst>
              <a:ext uri="{FF2B5EF4-FFF2-40B4-BE49-F238E27FC236}">
                <a16:creationId xmlns:a16="http://schemas.microsoft.com/office/drawing/2014/main" id="{CAA35721-7747-4232-99D4-AF0DD23682F7}"/>
              </a:ext>
            </a:extLst>
          </p:cNvPr>
          <p:cNvSpPr>
            <a:spLocks noChangeArrowheads="1"/>
          </p:cNvSpPr>
          <p:nvPr userDrawn="1"/>
        </p:nvSpPr>
        <p:spPr bwMode="auto">
          <a:xfrm>
            <a:off x="0" y="0"/>
            <a:ext cx="9144000" cy="144000"/>
          </a:xfrm>
          <a:prstGeom prst="rect">
            <a:avLst/>
          </a:prstGeom>
          <a:solidFill>
            <a:srgbClr val="327A86"/>
          </a:solidFill>
          <a:ln w="9525">
            <a:noFill/>
            <a:miter lim="800000"/>
            <a:headEnd/>
            <a:tailEnd/>
          </a:ln>
        </p:spPr>
        <p:txBody>
          <a:bodyPr wrap="none" anchor="ctr">
            <a:prstTxWarp prst="textNoShape">
              <a:avLst/>
            </a:prstTxWarp>
          </a:bodyPr>
          <a:lstStyle/>
          <a:p>
            <a:endParaRPr lang="de-DE" b="0" i="0">
              <a:latin typeface="Calibri Normal" charset="0"/>
            </a:endParaRPr>
          </a:p>
        </p:txBody>
      </p:sp>
    </p:spTree>
    <p:extLst>
      <p:ext uri="{BB962C8B-B14F-4D97-AF65-F5344CB8AC3E}">
        <p14:creationId xmlns:p14="http://schemas.microsoft.com/office/powerpoint/2010/main" val="1429276619"/>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11.jpe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9.jpeg"/><Relationship Id="rId5" Type="http://schemas.openxmlformats.org/officeDocument/2006/relationships/image" Target="../media/image8.png"/><Relationship Id="rId10" Type="http://schemas.openxmlformats.org/officeDocument/2006/relationships/image" Target="../media/image15.jpeg"/><Relationship Id="rId4" Type="http://schemas.openxmlformats.org/officeDocument/2006/relationships/image" Target="../media/image12.jpeg"/><Relationship Id="rId9" Type="http://schemas.openxmlformats.org/officeDocument/2006/relationships/image" Target="../media/image14.jpeg"/></Relationships>
</file>

<file path=ppt/slides/_rels/slide10.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16.png"/><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35.pn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13" Type="http://schemas.openxmlformats.org/officeDocument/2006/relationships/image" Target="../media/image19.jpe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png"/><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image" Target="../media/image23.png"/><Relationship Id="rId11" Type="http://schemas.openxmlformats.org/officeDocument/2006/relationships/image" Target="../media/image28.png"/><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png"/></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38.png"/><Relationship Id="rId4" Type="http://schemas.openxmlformats.org/officeDocument/2006/relationships/image" Target="../media/image37.png"/></Relationships>
</file>

<file path=ppt/slides/_rels/slide16.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2.pn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41.svg"/><Relationship Id="rId4" Type="http://schemas.openxmlformats.org/officeDocument/2006/relationships/image" Target="../media/image40.png"/></Relationships>
</file>

<file path=ppt/slides/_rels/slide17.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5.xml"/><Relationship Id="rId1" Type="http://schemas.openxmlformats.org/officeDocument/2006/relationships/slideLayout" Target="../slideLayouts/slideLayout1.xml"/><Relationship Id="rId5" Type="http://schemas.openxmlformats.org/officeDocument/2006/relationships/image" Target="../media/image41.sv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hyperlink" Target="https://creativecommons.org/licenses/by-sa/4.0/deed.de" TargetMode="External"/><Relationship Id="rId2" Type="http://schemas.openxmlformats.org/officeDocument/2006/relationships/hyperlink" Target="https://dzlm.de/" TargetMode="Externa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18.svg"/><Relationship Id="rId4" Type="http://schemas.openxmlformats.org/officeDocument/2006/relationships/image" Target="../media/image17.png"/></Relationships>
</file>

<file path=ppt/slides/_rels/slide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4.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16.png"/><Relationship Id="rId4" Type="http://schemas.openxmlformats.org/officeDocument/2006/relationships/image" Target="../media/image2.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4.png"/><Relationship Id="rId13" Type="http://schemas.openxmlformats.org/officeDocument/2006/relationships/image" Target="../media/image29.png"/><Relationship Id="rId3" Type="http://schemas.openxmlformats.org/officeDocument/2006/relationships/image" Target="../media/image19.jpeg"/><Relationship Id="rId7" Type="http://schemas.openxmlformats.org/officeDocument/2006/relationships/image" Target="../media/image23.png"/><Relationship Id="rId12"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22.png"/><Relationship Id="rId11" Type="http://schemas.openxmlformats.org/officeDocument/2006/relationships/image" Target="../media/image27.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19.jpeg"/><Relationship Id="rId4" Type="http://schemas.openxmlformats.org/officeDocument/2006/relationships/image" Target="../media/image3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FE8051AD-748C-7543-8A1C-5D334EE89DD9}"/>
              </a:ext>
            </a:extLst>
          </p:cNvPr>
          <p:cNvSpPr/>
          <p:nvPr/>
        </p:nvSpPr>
        <p:spPr bwMode="auto">
          <a:xfrm>
            <a:off x="0" y="1557869"/>
            <a:ext cx="9144000" cy="2269067"/>
          </a:xfrm>
          <a:prstGeom prst="rect">
            <a:avLst/>
          </a:prstGeom>
          <a:solidFill>
            <a:schemeClr val="bg1"/>
          </a:solidFill>
          <a:ln w="38100"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de-DE" sz="2000" b="0" i="0" u="none" strike="noStrike" cap="none" normalizeH="0" baseline="0" err="1">
              <a:ln>
                <a:noFill/>
              </a:ln>
              <a:solidFill>
                <a:schemeClr val="tx1"/>
              </a:solidFill>
              <a:effectLst/>
              <a:latin typeface="Calibri" panose="020F0502020204030204" pitchFamily="34" charset="0"/>
            </a:endParaRPr>
          </a:p>
        </p:txBody>
      </p:sp>
      <p:pic>
        <p:nvPicPr>
          <p:cNvPr id="3" name="Grafik 2">
            <a:extLst>
              <a:ext uri="{FF2B5EF4-FFF2-40B4-BE49-F238E27FC236}">
                <a16:creationId xmlns:a16="http://schemas.microsoft.com/office/drawing/2014/main" id="{F01A7CF4-45E3-2C43-8132-A1A9DCC86406}"/>
              </a:ext>
            </a:extLst>
          </p:cNvPr>
          <p:cNvPicPr>
            <a:picLocks noChangeAspect="1"/>
          </p:cNvPicPr>
          <p:nvPr/>
        </p:nvPicPr>
        <p:blipFill>
          <a:blip r:embed="rId3"/>
          <a:stretch>
            <a:fillRect/>
          </a:stretch>
        </p:blipFill>
        <p:spPr>
          <a:xfrm>
            <a:off x="0" y="157238"/>
            <a:ext cx="1769104" cy="1255040"/>
          </a:xfrm>
          <a:prstGeom prst="rect">
            <a:avLst/>
          </a:prstGeom>
        </p:spPr>
      </p:pic>
      <p:pic>
        <p:nvPicPr>
          <p:cNvPr id="5" name="Grafik 4">
            <a:extLst>
              <a:ext uri="{FF2B5EF4-FFF2-40B4-BE49-F238E27FC236}">
                <a16:creationId xmlns:a16="http://schemas.microsoft.com/office/drawing/2014/main" id="{97C83A03-A14A-F14C-A691-1F66F5CE9ECC}"/>
              </a:ext>
            </a:extLst>
          </p:cNvPr>
          <p:cNvPicPr>
            <a:picLocks noChangeAspect="1"/>
          </p:cNvPicPr>
          <p:nvPr/>
        </p:nvPicPr>
        <p:blipFill>
          <a:blip r:embed="rId4"/>
          <a:stretch>
            <a:fillRect/>
          </a:stretch>
        </p:blipFill>
        <p:spPr>
          <a:xfrm>
            <a:off x="6856854" y="157238"/>
            <a:ext cx="2276843" cy="1255040"/>
          </a:xfrm>
          <a:prstGeom prst="rect">
            <a:avLst/>
          </a:prstGeom>
        </p:spPr>
      </p:pic>
      <p:grpSp>
        <p:nvGrpSpPr>
          <p:cNvPr id="14" name="Gruppieren 13">
            <a:extLst>
              <a:ext uri="{FF2B5EF4-FFF2-40B4-BE49-F238E27FC236}">
                <a16:creationId xmlns:a16="http://schemas.microsoft.com/office/drawing/2014/main" id="{997CD91C-5E6D-F54C-A6FD-2DB462442CE2}"/>
              </a:ext>
            </a:extLst>
          </p:cNvPr>
          <p:cNvGrpSpPr/>
          <p:nvPr/>
        </p:nvGrpSpPr>
        <p:grpSpPr>
          <a:xfrm>
            <a:off x="6403442" y="5822663"/>
            <a:ext cx="2520300" cy="885253"/>
            <a:chOff x="6403442" y="5822663"/>
            <a:chExt cx="2520300" cy="885253"/>
          </a:xfrm>
        </p:grpSpPr>
        <p:grpSp>
          <p:nvGrpSpPr>
            <p:cNvPr id="6" name="Gruppieren 5">
              <a:extLst>
                <a:ext uri="{FF2B5EF4-FFF2-40B4-BE49-F238E27FC236}">
                  <a16:creationId xmlns:a16="http://schemas.microsoft.com/office/drawing/2014/main" id="{B386FD01-7E84-6441-92E3-1CF70C5E580B}"/>
                </a:ext>
              </a:extLst>
            </p:cNvPr>
            <p:cNvGrpSpPr>
              <a:grpSpLocks noChangeAspect="1"/>
            </p:cNvGrpSpPr>
            <p:nvPr/>
          </p:nvGrpSpPr>
          <p:grpSpPr>
            <a:xfrm>
              <a:off x="6403442" y="6244272"/>
              <a:ext cx="2489200" cy="463644"/>
              <a:chOff x="5148064" y="468000"/>
              <a:chExt cx="3575602" cy="666000"/>
            </a:xfrm>
          </p:grpSpPr>
          <p:pic>
            <p:nvPicPr>
              <p:cNvPr id="7" name="Grafik 6">
                <a:extLst>
                  <a:ext uri="{FF2B5EF4-FFF2-40B4-BE49-F238E27FC236}">
                    <a16:creationId xmlns:a16="http://schemas.microsoft.com/office/drawing/2014/main" id="{E1F477DD-794F-A342-9ACB-66C4ED0A550E}"/>
                  </a:ext>
                </a:extLst>
              </p:cNvPr>
              <p:cNvPicPr>
                <a:picLocks noChangeAspect="1"/>
              </p:cNvPicPr>
              <p:nvPr userDrawn="1"/>
            </p:nvPicPr>
            <p:blipFill>
              <a:blip r:embed="rId5"/>
              <a:stretch>
                <a:fillRect/>
              </a:stretch>
            </p:blipFill>
            <p:spPr>
              <a:xfrm>
                <a:off x="6299446" y="469857"/>
                <a:ext cx="2424220" cy="659594"/>
              </a:xfrm>
              <a:prstGeom prst="rect">
                <a:avLst/>
              </a:prstGeom>
            </p:spPr>
          </p:pic>
          <p:pic>
            <p:nvPicPr>
              <p:cNvPr id="8" name="Grafik 7">
                <a:extLst>
                  <a:ext uri="{FF2B5EF4-FFF2-40B4-BE49-F238E27FC236}">
                    <a16:creationId xmlns:a16="http://schemas.microsoft.com/office/drawing/2014/main" id="{29D00FA6-C749-AE46-8E9D-93E6CE618822}"/>
                  </a:ext>
                </a:extLst>
              </p:cNvPr>
              <p:cNvPicPr>
                <a:picLocks noChangeAspect="1"/>
              </p:cNvPicPr>
              <p:nvPr userDrawn="1"/>
            </p:nvPicPr>
            <p:blipFill>
              <a:blip r:embed="rId6"/>
              <a:stretch>
                <a:fillRect/>
              </a:stretch>
            </p:blipFill>
            <p:spPr>
              <a:xfrm>
                <a:off x="5148064" y="468000"/>
                <a:ext cx="839245" cy="666000"/>
              </a:xfrm>
              <a:prstGeom prst="rect">
                <a:avLst/>
              </a:prstGeom>
            </p:spPr>
          </p:pic>
        </p:grpSp>
        <p:pic>
          <p:nvPicPr>
            <p:cNvPr id="9" name="Grafik 8" descr="Ein Bild, das Text enthält.&#10;&#10;Automatisch generierte Beschreibung">
              <a:extLst>
                <a:ext uri="{FF2B5EF4-FFF2-40B4-BE49-F238E27FC236}">
                  <a16:creationId xmlns:a16="http://schemas.microsoft.com/office/drawing/2014/main" id="{137A2F11-D202-4144-AA15-999F4B72A234}"/>
                </a:ext>
              </a:extLst>
            </p:cNvPr>
            <p:cNvPicPr>
              <a:picLocks noChangeAspect="1"/>
            </p:cNvPicPr>
            <p:nvPr/>
          </p:nvPicPr>
          <p:blipFill>
            <a:blip r:embed="rId7"/>
            <a:stretch>
              <a:fillRect/>
            </a:stretch>
          </p:blipFill>
          <p:spPr>
            <a:xfrm>
              <a:off x="6434542" y="5822663"/>
              <a:ext cx="2489200" cy="289732"/>
            </a:xfrm>
            <a:prstGeom prst="rect">
              <a:avLst/>
            </a:prstGeom>
          </p:spPr>
        </p:pic>
      </p:grpSp>
      <p:pic>
        <p:nvPicPr>
          <p:cNvPr id="1026" name="Picture 2" descr="Startseite2.0 | PIKAS">
            <a:extLst>
              <a:ext uri="{FF2B5EF4-FFF2-40B4-BE49-F238E27FC236}">
                <a16:creationId xmlns:a16="http://schemas.microsoft.com/office/drawing/2014/main" id="{EC26120C-EF3F-F549-A78F-3A28BF6BA1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000" y="5763934"/>
            <a:ext cx="2489200" cy="960676"/>
          </a:xfrm>
          <a:prstGeom prst="rect">
            <a:avLst/>
          </a:prstGeom>
          <a:noFill/>
          <a:extLst>
            <a:ext uri="{909E8E84-426E-40DD-AFC4-6F175D3DCCD1}">
              <a14:hiddenFill xmlns:a14="http://schemas.microsoft.com/office/drawing/2010/main">
                <a:solidFill>
                  <a:srgbClr val="FFFFFF"/>
                </a:solidFill>
              </a14:hiddenFill>
            </a:ext>
          </a:extLst>
        </p:spPr>
      </p:pic>
      <p:sp>
        <p:nvSpPr>
          <p:cNvPr id="12" name="Textfeld 11">
            <a:extLst>
              <a:ext uri="{FF2B5EF4-FFF2-40B4-BE49-F238E27FC236}">
                <a16:creationId xmlns:a16="http://schemas.microsoft.com/office/drawing/2014/main" id="{A81C4177-703F-144C-A9EC-AA7C612215E3}"/>
              </a:ext>
            </a:extLst>
          </p:cNvPr>
          <p:cNvSpPr txBox="1"/>
          <p:nvPr/>
        </p:nvSpPr>
        <p:spPr>
          <a:xfrm>
            <a:off x="0" y="3966287"/>
            <a:ext cx="9144000" cy="1302921"/>
          </a:xfrm>
          <a:prstGeom prst="rect">
            <a:avLst/>
          </a:prstGeom>
          <a:noFill/>
        </p:spPr>
        <p:txBody>
          <a:bodyPr wrap="square" rtlCol="0">
            <a:spAutoFit/>
          </a:bodyPr>
          <a:lstStyle/>
          <a:p>
            <a:pPr marL="342900" indent="-342900" algn="ctr">
              <a:spcBef>
                <a:spcPts val="400"/>
              </a:spcBef>
            </a:pPr>
            <a:r>
              <a:rPr lang="de-DE" b="1">
                <a:latin typeface="Calibri"/>
                <a:cs typeface="Calibri"/>
              </a:rPr>
              <a:t>Arithmetik im Schuljahr 1 und 2</a:t>
            </a:r>
          </a:p>
          <a:p>
            <a:pPr marL="342900" indent="-342900" algn="ctr">
              <a:spcBef>
                <a:spcPts val="400"/>
              </a:spcBef>
            </a:pPr>
            <a:r>
              <a:rPr lang="de-DE" b="1">
                <a:latin typeface="Calibri"/>
                <a:cs typeface="Calibri"/>
              </a:rPr>
              <a:t>Fachnetzwerktreffen 1</a:t>
            </a:r>
          </a:p>
          <a:p>
            <a:pPr marL="342900" indent="-342900" algn="ctr">
              <a:spcBef>
                <a:spcPts val="400"/>
              </a:spcBef>
            </a:pPr>
            <a:r>
              <a:rPr lang="de-DE" b="1">
                <a:latin typeface="Calibri"/>
                <a:cs typeface="Calibri"/>
              </a:rPr>
              <a:t>Diagnose &amp; Förderung am Schuljahresanfang, Basiskompetenzen</a:t>
            </a:r>
          </a:p>
        </p:txBody>
      </p:sp>
      <p:sp>
        <p:nvSpPr>
          <p:cNvPr id="13" name="Textfeld 12">
            <a:extLst>
              <a:ext uri="{FF2B5EF4-FFF2-40B4-BE49-F238E27FC236}">
                <a16:creationId xmlns:a16="http://schemas.microsoft.com/office/drawing/2014/main" id="{9830BC7C-162A-304C-A5C9-E1E535EB94A8}"/>
              </a:ext>
            </a:extLst>
          </p:cNvPr>
          <p:cNvSpPr txBox="1"/>
          <p:nvPr/>
        </p:nvSpPr>
        <p:spPr>
          <a:xfrm>
            <a:off x="2254025" y="5378450"/>
            <a:ext cx="4635949" cy="369332"/>
          </a:xfrm>
          <a:prstGeom prst="rect">
            <a:avLst/>
          </a:prstGeom>
          <a:noFill/>
        </p:spPr>
        <p:txBody>
          <a:bodyPr wrap="none" rtlCol="0">
            <a:spAutoFit/>
          </a:bodyPr>
          <a:lstStyle/>
          <a:p>
            <a:pPr marL="342900" indent="-342900">
              <a:spcBef>
                <a:spcPts val="400"/>
              </a:spcBef>
            </a:pPr>
            <a:r>
              <a:rPr lang="de-DE" sz="1800" err="1">
                <a:latin typeface="Calibri"/>
                <a:cs typeface="Calibri"/>
              </a:rPr>
              <a:t>SchuMaS</a:t>
            </a:r>
            <a:r>
              <a:rPr lang="de-DE" sz="1800">
                <a:latin typeface="Calibri"/>
                <a:cs typeface="Calibri"/>
              </a:rPr>
              <a:t>-Mathematik-Team für die Primarstufe</a:t>
            </a:r>
          </a:p>
        </p:txBody>
      </p:sp>
      <p:sp>
        <p:nvSpPr>
          <p:cNvPr id="2" name="Rechteck 1">
            <a:extLst>
              <a:ext uri="{FF2B5EF4-FFF2-40B4-BE49-F238E27FC236}">
                <a16:creationId xmlns:a16="http://schemas.microsoft.com/office/drawing/2014/main" id="{CA64338B-78CA-B941-A409-9D5E95B8D19F}"/>
              </a:ext>
            </a:extLst>
          </p:cNvPr>
          <p:cNvSpPr/>
          <p:nvPr/>
        </p:nvSpPr>
        <p:spPr>
          <a:xfrm>
            <a:off x="4549344" y="3833189"/>
            <a:ext cx="4572000" cy="246221"/>
          </a:xfrm>
          <a:prstGeom prst="rect">
            <a:avLst/>
          </a:prstGeom>
        </p:spPr>
        <p:txBody>
          <a:bodyPr>
            <a:spAutoFit/>
          </a:bodyPr>
          <a:lstStyle/>
          <a:p>
            <a:pPr algn="r"/>
            <a:r>
              <a:rPr lang="de-DE" sz="1000">
                <a:solidFill>
                  <a:schemeClr val="bg1">
                    <a:lumMod val="50000"/>
                  </a:schemeClr>
                </a:solidFill>
                <a:latin typeface="Calibri" panose="020F0502020204030204" pitchFamily="34" charset="0"/>
                <a:cs typeface="Calibri" panose="020F0502020204030204" pitchFamily="34" charset="0"/>
              </a:rPr>
              <a:t>(Bildquelle: Vera Kleinschmidt, Hilfskraft im </a:t>
            </a:r>
            <a:r>
              <a:rPr lang="de-DE" sz="1000" err="1">
                <a:solidFill>
                  <a:schemeClr val="bg1">
                    <a:lumMod val="50000"/>
                  </a:schemeClr>
                </a:solidFill>
                <a:latin typeface="Calibri" panose="020F0502020204030204" pitchFamily="34" charset="0"/>
                <a:cs typeface="Calibri" panose="020F0502020204030204" pitchFamily="34" charset="0"/>
              </a:rPr>
              <a:t>SchuMaS</a:t>
            </a:r>
            <a:r>
              <a:rPr lang="de-DE" sz="1000">
                <a:solidFill>
                  <a:schemeClr val="bg1">
                    <a:lumMod val="50000"/>
                  </a:schemeClr>
                </a:solidFill>
                <a:latin typeface="Calibri" panose="020F0502020204030204" pitchFamily="34" charset="0"/>
                <a:cs typeface="Calibri" panose="020F0502020204030204" pitchFamily="34" charset="0"/>
              </a:rPr>
              <a:t>-Projekt)</a:t>
            </a:r>
          </a:p>
        </p:txBody>
      </p:sp>
      <p:pic>
        <p:nvPicPr>
          <p:cNvPr id="4" name="Grafik 3">
            <a:extLst>
              <a:ext uri="{FF2B5EF4-FFF2-40B4-BE49-F238E27FC236}">
                <a16:creationId xmlns:a16="http://schemas.microsoft.com/office/drawing/2014/main" id="{D08B5329-76B1-9658-1674-E1EE7D42EB9A}"/>
              </a:ext>
            </a:extLst>
          </p:cNvPr>
          <p:cNvPicPr>
            <a:picLocks noChangeAspect="1"/>
          </p:cNvPicPr>
          <p:nvPr/>
        </p:nvPicPr>
        <p:blipFill>
          <a:blip r:embed="rId9"/>
          <a:stretch>
            <a:fillRect/>
          </a:stretch>
        </p:blipFill>
        <p:spPr>
          <a:xfrm>
            <a:off x="1552261" y="1569048"/>
            <a:ext cx="2997082" cy="2247812"/>
          </a:xfrm>
          <a:prstGeom prst="rect">
            <a:avLst/>
          </a:prstGeom>
        </p:spPr>
      </p:pic>
      <p:pic>
        <p:nvPicPr>
          <p:cNvPr id="15" name="Grafik 14">
            <a:extLst>
              <a:ext uri="{FF2B5EF4-FFF2-40B4-BE49-F238E27FC236}">
                <a16:creationId xmlns:a16="http://schemas.microsoft.com/office/drawing/2014/main" id="{6B5B4302-AFC2-F88C-7054-03BE1EA1638C}"/>
              </a:ext>
            </a:extLst>
          </p:cNvPr>
          <p:cNvPicPr>
            <a:picLocks noChangeAspect="1"/>
          </p:cNvPicPr>
          <p:nvPr/>
        </p:nvPicPr>
        <p:blipFill>
          <a:blip r:embed="rId10"/>
          <a:stretch>
            <a:fillRect/>
          </a:stretch>
        </p:blipFill>
        <p:spPr>
          <a:xfrm>
            <a:off x="4549343" y="1570460"/>
            <a:ext cx="2995200" cy="2246400"/>
          </a:xfrm>
          <a:prstGeom prst="rect">
            <a:avLst/>
          </a:prstGeom>
        </p:spPr>
      </p:pic>
      <p:sp>
        <p:nvSpPr>
          <p:cNvPr id="10" name="Rechteck 9">
            <a:extLst>
              <a:ext uri="{FF2B5EF4-FFF2-40B4-BE49-F238E27FC236}">
                <a16:creationId xmlns:a16="http://schemas.microsoft.com/office/drawing/2014/main" id="{1FFB46A6-895A-91C8-B941-E8E8BE89A0D5}"/>
              </a:ext>
            </a:extLst>
          </p:cNvPr>
          <p:cNvSpPr/>
          <p:nvPr/>
        </p:nvSpPr>
        <p:spPr bwMode="auto">
          <a:xfrm rot="20902863">
            <a:off x="-32912" y="1575094"/>
            <a:ext cx="2801747" cy="996426"/>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2800">
                <a:solidFill>
                  <a:schemeClr val="bg1"/>
                </a:solidFill>
                <a:latin typeface="Calibri Light" panose="020F0302020204030204" pitchFamily="34" charset="0"/>
                <a:cs typeface="Calibri Light" panose="020F0302020204030204" pitchFamily="34" charset="0"/>
              </a:rPr>
              <a:t>TRANSFER</a:t>
            </a:r>
            <a: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a:t>
            </a:r>
            <a:b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br>
            <a:r>
              <a:rPr kumimoji="0" lang="de-DE" sz="2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ins Kollegium</a:t>
            </a:r>
          </a:p>
        </p:txBody>
      </p:sp>
    </p:spTree>
    <p:extLst>
      <p:ext uri="{BB962C8B-B14F-4D97-AF65-F5344CB8AC3E}">
        <p14:creationId xmlns:p14="http://schemas.microsoft.com/office/powerpoint/2010/main" val="22225615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59A5C585-D72E-5E43-D66B-F39C83A07302}"/>
              </a:ext>
            </a:extLst>
          </p:cNvPr>
          <p:cNvSpPr>
            <a:spLocks noGrp="1"/>
          </p:cNvSpPr>
          <p:nvPr>
            <p:ph type="body" sz="quarter" idx="10"/>
          </p:nvPr>
        </p:nvSpPr>
        <p:spPr/>
        <p:txBody>
          <a:bodyPr/>
          <a:lstStyle/>
          <a:p>
            <a:endParaRPr lang="de-DE"/>
          </a:p>
        </p:txBody>
      </p:sp>
      <p:sp>
        <p:nvSpPr>
          <p:cNvPr id="2" name="Abgerundetes Rechteck 1">
            <a:extLst>
              <a:ext uri="{FF2B5EF4-FFF2-40B4-BE49-F238E27FC236}">
                <a16:creationId xmlns:a16="http://schemas.microsoft.com/office/drawing/2014/main" id="{60027C18-1ED6-DFEC-8384-70C6325B8698}"/>
              </a:ext>
            </a:extLst>
          </p:cNvPr>
          <p:cNvSpPr/>
          <p:nvPr/>
        </p:nvSpPr>
        <p:spPr bwMode="auto">
          <a:xfrm>
            <a:off x="2106643" y="1752671"/>
            <a:ext cx="2050933" cy="599205"/>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ahlen beschreiben und benennen. </a:t>
            </a:r>
          </a:p>
        </p:txBody>
      </p:sp>
      <p:sp>
        <p:nvSpPr>
          <p:cNvPr id="8" name="Inhaltsplatzhalter 1">
            <a:extLst>
              <a:ext uri="{FF2B5EF4-FFF2-40B4-BE49-F238E27FC236}">
                <a16:creationId xmlns:a16="http://schemas.microsoft.com/office/drawing/2014/main" id="{66FB2D79-0D28-4CE8-81C6-DD13802545D8}"/>
              </a:ext>
            </a:extLst>
          </p:cNvPr>
          <p:cNvSpPr txBox="1">
            <a:spLocks/>
          </p:cNvSpPr>
          <p:nvPr/>
        </p:nvSpPr>
        <p:spPr>
          <a:xfrm>
            <a:off x="5319693" y="4915520"/>
            <a:ext cx="8640000" cy="5580000"/>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3"/>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4"/>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4"/>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4"/>
              </a:buBlip>
              <a:defRPr sz="1200">
                <a:solidFill>
                  <a:schemeClr val="tx1"/>
                </a:solidFill>
                <a:latin typeface="+mn-lt"/>
                <a:ea typeface="+mn-ea"/>
              </a:defRPr>
            </a:lvl9pPr>
          </a:lstStyle>
          <a:p>
            <a:pPr marL="342900" indent="-342900">
              <a:buAutoNum type="arabicPeriod"/>
            </a:pPr>
            <a:endParaRPr lang="de-DE" sz="1400" kern="0"/>
          </a:p>
          <a:p>
            <a:pPr marL="342900" indent="-342900">
              <a:buAutoNum type="arabicPeriod"/>
            </a:pPr>
            <a:endParaRPr lang="de-DE" sz="1400" kern="0"/>
          </a:p>
          <a:p>
            <a:pPr marL="342900" indent="-342900">
              <a:buAutoNum type="arabicPeriod"/>
            </a:pPr>
            <a:endParaRPr lang="de-DE" sz="1400" kern="0"/>
          </a:p>
          <a:p>
            <a:endParaRPr lang="de-DE" sz="1400" kern="0">
              <a:solidFill>
                <a:srgbClr val="C00000"/>
              </a:solidFill>
            </a:endParaRPr>
          </a:p>
          <a:p>
            <a:endParaRPr lang="de-DE" sz="1400" kern="0">
              <a:solidFill>
                <a:srgbClr val="C00000"/>
              </a:solidFill>
            </a:endParaRPr>
          </a:p>
          <a:p>
            <a:pPr marL="0" indent="0">
              <a:buNone/>
            </a:pPr>
            <a:endParaRPr lang="de-DE" sz="1400" kern="0">
              <a:solidFill>
                <a:srgbClr val="C00000"/>
              </a:solidFill>
            </a:endParaRPr>
          </a:p>
        </p:txBody>
      </p:sp>
      <p:sp>
        <p:nvSpPr>
          <p:cNvPr id="11" name="Abgerundetes Rechteck 10">
            <a:extLst>
              <a:ext uri="{FF2B5EF4-FFF2-40B4-BE49-F238E27FC236}">
                <a16:creationId xmlns:a16="http://schemas.microsoft.com/office/drawing/2014/main" id="{BC3CEAF2-65EE-2AC5-3FA2-C64DD7AF3434}"/>
              </a:ext>
            </a:extLst>
          </p:cNvPr>
          <p:cNvSpPr/>
          <p:nvPr/>
        </p:nvSpPr>
        <p:spPr bwMode="auto">
          <a:xfrm>
            <a:off x="108000" y="2591800"/>
            <a:ext cx="2050933" cy="942487"/>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mit Material dargestellte Zahlen lesen (Zahlen sprechen) und darstellen.</a:t>
            </a:r>
          </a:p>
        </p:txBody>
      </p:sp>
      <p:sp>
        <p:nvSpPr>
          <p:cNvPr id="12" name="Abgerundete rechteckige Legende 11">
            <a:extLst>
              <a:ext uri="{FF2B5EF4-FFF2-40B4-BE49-F238E27FC236}">
                <a16:creationId xmlns:a16="http://schemas.microsoft.com/office/drawing/2014/main" id="{1C9F2A80-2C5F-C036-78F9-6D450395F7E7}"/>
              </a:ext>
            </a:extLst>
          </p:cNvPr>
          <p:cNvSpPr/>
          <p:nvPr/>
        </p:nvSpPr>
        <p:spPr bwMode="auto">
          <a:xfrm>
            <a:off x="4717952" y="1612765"/>
            <a:ext cx="2050933" cy="937228"/>
          </a:xfrm>
          <a:prstGeom prst="wedgeRoundRectCallout">
            <a:avLst>
              <a:gd name="adj1" fmla="val -16826"/>
              <a:gd name="adj2" fmla="val 464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flexibel zählen (vorwärts, </a:t>
            </a:r>
            <a:r>
              <a:rPr lang="de-DE" sz="1100" i="1" kern="0" err="1">
                <a:latin typeface="Calibri" panose="020F0502020204030204" pitchFamily="34" charset="0"/>
                <a:cs typeface="Calibri" panose="020F0502020204030204" pitchFamily="34" charset="0"/>
              </a:rPr>
              <a:t>rückwärts</a:t>
            </a:r>
            <a:r>
              <a:rPr lang="de-DE" sz="1100" i="1" kern="0">
                <a:latin typeface="Calibri" panose="020F0502020204030204" pitchFamily="34" charset="0"/>
                <a:cs typeface="Calibri" panose="020F0502020204030204" pitchFamily="34" charset="0"/>
              </a:rPr>
              <a:t>, in Schritten, mit beliebiger Startzahl).</a:t>
            </a:r>
          </a:p>
        </p:txBody>
      </p:sp>
      <p:sp>
        <p:nvSpPr>
          <p:cNvPr id="13" name="Abgerundete rechteckige Legende 12">
            <a:extLst>
              <a:ext uri="{FF2B5EF4-FFF2-40B4-BE49-F238E27FC236}">
                <a16:creationId xmlns:a16="http://schemas.microsoft.com/office/drawing/2014/main" id="{E2B7386A-440F-2BE0-4EF9-AFBD677904DC}"/>
              </a:ext>
            </a:extLst>
          </p:cNvPr>
          <p:cNvSpPr/>
          <p:nvPr/>
        </p:nvSpPr>
        <p:spPr bwMode="auto">
          <a:xfrm>
            <a:off x="3824308" y="5792865"/>
            <a:ext cx="2050933" cy="599205"/>
          </a:xfrm>
          <a:prstGeom prst="wedgeRoundRectCallout">
            <a:avLst>
              <a:gd name="adj1" fmla="val -11095"/>
              <a:gd name="adj2" fmla="val -4755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ahlen in Stellenwerte zerlegen. </a:t>
            </a:r>
          </a:p>
        </p:txBody>
      </p:sp>
      <p:sp>
        <p:nvSpPr>
          <p:cNvPr id="14" name="Abgerundete rechteckige Legende 13">
            <a:extLst>
              <a:ext uri="{FF2B5EF4-FFF2-40B4-BE49-F238E27FC236}">
                <a16:creationId xmlns:a16="http://schemas.microsoft.com/office/drawing/2014/main" id="{959B2AB0-5DFB-37FA-EE25-CEFAFB2084A7}"/>
              </a:ext>
            </a:extLst>
          </p:cNvPr>
          <p:cNvSpPr/>
          <p:nvPr/>
        </p:nvSpPr>
        <p:spPr bwMode="auto">
          <a:xfrm>
            <a:off x="1388827" y="5531278"/>
            <a:ext cx="2050933" cy="599205"/>
          </a:xfrm>
          <a:prstGeom prst="wedgeRoundRectCallout">
            <a:avLst>
              <a:gd name="adj1" fmla="val 29240"/>
              <a:gd name="adj2" fmla="val -4777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bündeln und entbündeln</a:t>
            </a:r>
          </a:p>
        </p:txBody>
      </p:sp>
      <p:sp>
        <p:nvSpPr>
          <p:cNvPr id="15" name="Abgerundetes Rechteck 14">
            <a:extLst>
              <a:ext uri="{FF2B5EF4-FFF2-40B4-BE49-F238E27FC236}">
                <a16:creationId xmlns:a16="http://schemas.microsoft.com/office/drawing/2014/main" id="{5CF887E0-F9FF-083A-E988-B28D8B4F01DE}"/>
              </a:ext>
            </a:extLst>
          </p:cNvPr>
          <p:cNvSpPr/>
          <p:nvPr/>
        </p:nvSpPr>
        <p:spPr bwMode="auto">
          <a:xfrm>
            <a:off x="240853" y="3833239"/>
            <a:ext cx="2050933" cy="1405247"/>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
        <p:nvSpPr>
          <p:cNvPr id="16" name="Abgerundete rechteckige Legende 15">
            <a:extLst>
              <a:ext uri="{FF2B5EF4-FFF2-40B4-BE49-F238E27FC236}">
                <a16:creationId xmlns:a16="http://schemas.microsoft.com/office/drawing/2014/main" id="{4BBDD769-6CC2-A562-538E-4C242EF4CEAB}"/>
              </a:ext>
            </a:extLst>
          </p:cNvPr>
          <p:cNvSpPr/>
          <p:nvPr/>
        </p:nvSpPr>
        <p:spPr bwMode="auto">
          <a:xfrm>
            <a:off x="6944030" y="2578100"/>
            <a:ext cx="2050933" cy="1011714"/>
          </a:xfrm>
          <a:prstGeom prst="wedgeRoundRectCallout">
            <a:avLst>
              <a:gd name="adj1" fmla="val -21426"/>
              <a:gd name="adj2" fmla="val 44676"/>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Beziehungen zwischen Zahlen beschreiben (Nachbarzahlen, die Hälfte/ das Doppelte).</a:t>
            </a:r>
          </a:p>
        </p:txBody>
      </p:sp>
      <p:sp>
        <p:nvSpPr>
          <p:cNvPr id="17" name="Abgerundete rechteckige Legende 16">
            <a:extLst>
              <a:ext uri="{FF2B5EF4-FFF2-40B4-BE49-F238E27FC236}">
                <a16:creationId xmlns:a16="http://schemas.microsoft.com/office/drawing/2014/main" id="{95BF35FD-C912-3A4D-387A-0560021059DB}"/>
              </a:ext>
            </a:extLst>
          </p:cNvPr>
          <p:cNvSpPr/>
          <p:nvPr/>
        </p:nvSpPr>
        <p:spPr bwMode="auto">
          <a:xfrm>
            <a:off x="6874520" y="4290973"/>
            <a:ext cx="2050933" cy="599205"/>
          </a:xfrm>
          <a:prstGeom prst="wedgeRoundRectCallout">
            <a:avLst>
              <a:gd name="adj1" fmla="val -23006"/>
              <a:gd name="adj2" fmla="val 4480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ahlen ordnen und vergleichen. </a:t>
            </a:r>
          </a:p>
        </p:txBody>
      </p:sp>
      <p:sp>
        <p:nvSpPr>
          <p:cNvPr id="18" name="Abgerundete rechteckige Legende 17">
            <a:extLst>
              <a:ext uri="{FF2B5EF4-FFF2-40B4-BE49-F238E27FC236}">
                <a16:creationId xmlns:a16="http://schemas.microsoft.com/office/drawing/2014/main" id="{76A020FE-5782-65FA-1350-532A5429F270}"/>
              </a:ext>
            </a:extLst>
          </p:cNvPr>
          <p:cNvSpPr/>
          <p:nvPr/>
        </p:nvSpPr>
        <p:spPr bwMode="auto">
          <a:xfrm>
            <a:off x="6644859" y="5680546"/>
            <a:ext cx="2050933" cy="599205"/>
          </a:xfrm>
          <a:prstGeom prst="wedgeRoundRectCallout">
            <a:avLst>
              <a:gd name="adj1" fmla="val -19454"/>
              <a:gd name="adj2" fmla="val -399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ahlen am Zahlenstrahl ablesen. </a:t>
            </a:r>
          </a:p>
        </p:txBody>
      </p:sp>
      <p:pic>
        <p:nvPicPr>
          <p:cNvPr id="6" name="Grafik 5">
            <a:extLst>
              <a:ext uri="{FF2B5EF4-FFF2-40B4-BE49-F238E27FC236}">
                <a16:creationId xmlns:a16="http://schemas.microsoft.com/office/drawing/2014/main" id="{D61238ED-D7C9-B028-6A30-AEC660F751F4}"/>
              </a:ext>
            </a:extLst>
          </p:cNvPr>
          <p:cNvPicPr>
            <a:picLocks noChangeAspect="1"/>
          </p:cNvPicPr>
          <p:nvPr/>
        </p:nvPicPr>
        <p:blipFill rotWithShape="1">
          <a:blip r:embed="rId5"/>
          <a:srcRect t="12585" r="41012" b="64047"/>
          <a:stretch/>
        </p:blipFill>
        <p:spPr>
          <a:xfrm>
            <a:off x="2363967" y="2813105"/>
            <a:ext cx="4404918" cy="2468244"/>
          </a:xfrm>
          <a:prstGeom prst="rect">
            <a:avLst/>
          </a:prstGeom>
          <a:ln>
            <a:solidFill>
              <a:srgbClr val="96939A"/>
            </a:solidFill>
          </a:ln>
        </p:spPr>
      </p:pic>
      <p:sp>
        <p:nvSpPr>
          <p:cNvPr id="3" name="Rechteck 2">
            <a:extLst>
              <a:ext uri="{FF2B5EF4-FFF2-40B4-BE49-F238E27FC236}">
                <a16:creationId xmlns:a16="http://schemas.microsoft.com/office/drawing/2014/main" id="{9B6DE6D8-E2A1-B3F6-B98D-38B36350975F}"/>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2: Aktivierung</a:t>
            </a:r>
          </a:p>
        </p:txBody>
      </p:sp>
      <p:grpSp>
        <p:nvGrpSpPr>
          <p:cNvPr id="19" name="Gruppieren 18">
            <a:extLst>
              <a:ext uri="{FF2B5EF4-FFF2-40B4-BE49-F238E27FC236}">
                <a16:creationId xmlns:a16="http://schemas.microsoft.com/office/drawing/2014/main" id="{81019831-57DB-08BE-2715-59B4376CEDE5}"/>
              </a:ext>
            </a:extLst>
          </p:cNvPr>
          <p:cNvGrpSpPr/>
          <p:nvPr/>
        </p:nvGrpSpPr>
        <p:grpSpPr>
          <a:xfrm>
            <a:off x="107788" y="274288"/>
            <a:ext cx="8928424" cy="927211"/>
            <a:chOff x="0" y="0"/>
            <a:chExt cx="5818764" cy="733300"/>
          </a:xfrm>
        </p:grpSpPr>
        <p:sp>
          <p:nvSpPr>
            <p:cNvPr id="20" name="Gefaltete Ecke 8">
              <a:extLst>
                <a:ext uri="{FF2B5EF4-FFF2-40B4-BE49-F238E27FC236}">
                  <a16:creationId xmlns:a16="http://schemas.microsoft.com/office/drawing/2014/main" id="{4DA31BF0-8197-8831-3973-1AD8ACB841FF}"/>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21" name="Textfeld 1">
              <a:extLst>
                <a:ext uri="{FF2B5EF4-FFF2-40B4-BE49-F238E27FC236}">
                  <a16:creationId xmlns:a16="http://schemas.microsoft.com/office/drawing/2014/main" id="{2FF4AF02-0792-C738-22DA-28EC0083CF97}"/>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22" name="Picture 3">
            <a:extLst>
              <a:ext uri="{FF2B5EF4-FFF2-40B4-BE49-F238E27FC236}">
                <a16:creationId xmlns:a16="http://schemas.microsoft.com/office/drawing/2014/main" id="{0D0D7789-9A58-9F41-F5FE-252A4EE31C72}"/>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Tree>
    <p:extLst>
      <p:ext uri="{BB962C8B-B14F-4D97-AF65-F5344CB8AC3E}">
        <p14:creationId xmlns:p14="http://schemas.microsoft.com/office/powerpoint/2010/main" val="9289723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2: Aktivierung</a:t>
            </a:r>
          </a:p>
        </p:txBody>
      </p:sp>
      <p:sp>
        <p:nvSpPr>
          <p:cNvPr id="8" name="Textfeld 7">
            <a:extLst>
              <a:ext uri="{FF2B5EF4-FFF2-40B4-BE49-F238E27FC236}">
                <a16:creationId xmlns:a16="http://schemas.microsoft.com/office/drawing/2014/main" id="{392D003D-12E1-B651-A877-15556DAB1CAA}"/>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a:latin typeface="Calibri"/>
                <a:cs typeface="Calibri"/>
              </a:rPr>
              <a:t>Klasse 2</a:t>
            </a:r>
          </a:p>
        </p:txBody>
      </p:sp>
      <p:sp>
        <p:nvSpPr>
          <p:cNvPr id="9" name="Textfeld 8">
            <a:extLst>
              <a:ext uri="{FF2B5EF4-FFF2-40B4-BE49-F238E27FC236}">
                <a16:creationId xmlns:a16="http://schemas.microsoft.com/office/drawing/2014/main" id="{2A65381E-919D-438B-5105-0E6BC95EADCC}"/>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a:latin typeface="Calibri"/>
                <a:cs typeface="Calibri"/>
              </a:rPr>
              <a:t>Zahlenraum bis 20</a:t>
            </a:r>
          </a:p>
        </p:txBody>
      </p:sp>
      <p:grpSp>
        <p:nvGrpSpPr>
          <p:cNvPr id="3" name="Gruppieren 2">
            <a:extLst>
              <a:ext uri="{FF2B5EF4-FFF2-40B4-BE49-F238E27FC236}">
                <a16:creationId xmlns:a16="http://schemas.microsoft.com/office/drawing/2014/main" id="{9241C764-AEE2-F578-F328-A87B005B9B39}"/>
              </a:ext>
            </a:extLst>
          </p:cNvPr>
          <p:cNvGrpSpPr/>
          <p:nvPr/>
        </p:nvGrpSpPr>
        <p:grpSpPr>
          <a:xfrm>
            <a:off x="107788" y="274288"/>
            <a:ext cx="8928424" cy="927211"/>
            <a:chOff x="0" y="0"/>
            <a:chExt cx="5818764" cy="733300"/>
          </a:xfrm>
        </p:grpSpPr>
        <p:sp>
          <p:nvSpPr>
            <p:cNvPr id="10" name="Gefaltete Ecke 8">
              <a:extLst>
                <a:ext uri="{FF2B5EF4-FFF2-40B4-BE49-F238E27FC236}">
                  <a16:creationId xmlns:a16="http://schemas.microsoft.com/office/drawing/2014/main" id="{8F1C7A05-B6B6-D9F3-886F-F93F3BDFB8B0}"/>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2" name="Textfeld 1">
              <a:extLst>
                <a:ext uri="{FF2B5EF4-FFF2-40B4-BE49-F238E27FC236}">
                  <a16:creationId xmlns:a16="http://schemas.microsoft.com/office/drawing/2014/main" id="{E8AED6FC-6DF9-63C6-09C9-0588EBB45AA3}"/>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4" name="Picture 3">
            <a:extLst>
              <a:ext uri="{FF2B5EF4-FFF2-40B4-BE49-F238E27FC236}">
                <a16:creationId xmlns:a16="http://schemas.microsoft.com/office/drawing/2014/main" id="{5481802C-38BC-2DFE-FD54-FD15464EBC3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pic>
        <p:nvPicPr>
          <p:cNvPr id="16" name="Grafik 15">
            <a:extLst>
              <a:ext uri="{FF2B5EF4-FFF2-40B4-BE49-F238E27FC236}">
                <a16:creationId xmlns:a16="http://schemas.microsoft.com/office/drawing/2014/main" id="{C72B2442-8D69-CF38-6699-B625F11258E8}"/>
              </a:ext>
            </a:extLst>
          </p:cNvPr>
          <p:cNvPicPr>
            <a:picLocks noChangeAspect="1"/>
          </p:cNvPicPr>
          <p:nvPr/>
        </p:nvPicPr>
        <p:blipFill>
          <a:blip r:embed="rId4"/>
          <a:srcRect/>
          <a:stretch/>
        </p:blipFill>
        <p:spPr>
          <a:xfrm>
            <a:off x="111250" y="2011008"/>
            <a:ext cx="2899667" cy="410149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7" name="Grafik 16">
            <a:extLst>
              <a:ext uri="{FF2B5EF4-FFF2-40B4-BE49-F238E27FC236}">
                <a16:creationId xmlns:a16="http://schemas.microsoft.com/office/drawing/2014/main" id="{A9CA72EB-7D8C-4ADD-0122-BC0112F40773}"/>
              </a:ext>
            </a:extLst>
          </p:cNvPr>
          <p:cNvPicPr>
            <a:picLocks noChangeAspect="1"/>
          </p:cNvPicPr>
          <p:nvPr/>
        </p:nvPicPr>
        <p:blipFill>
          <a:blip r:embed="rId5"/>
          <a:srcRect/>
          <a:stretch/>
        </p:blipFill>
        <p:spPr>
          <a:xfrm>
            <a:off x="3122167" y="2010608"/>
            <a:ext cx="2899666" cy="41022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8" name="Grafik 17">
            <a:extLst>
              <a:ext uri="{FF2B5EF4-FFF2-40B4-BE49-F238E27FC236}">
                <a16:creationId xmlns:a16="http://schemas.microsoft.com/office/drawing/2014/main" id="{B48248FC-047F-5955-09FC-ECD41481EA9A}"/>
              </a:ext>
            </a:extLst>
          </p:cNvPr>
          <p:cNvPicPr>
            <a:picLocks noChangeAspect="1"/>
          </p:cNvPicPr>
          <p:nvPr/>
        </p:nvPicPr>
        <p:blipFill>
          <a:blip r:embed="rId6"/>
          <a:srcRect/>
          <a:stretch/>
        </p:blipFill>
        <p:spPr>
          <a:xfrm>
            <a:off x="6133084" y="2011477"/>
            <a:ext cx="2899666" cy="41005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Rechteck 10">
            <a:extLst>
              <a:ext uri="{FF2B5EF4-FFF2-40B4-BE49-F238E27FC236}">
                <a16:creationId xmlns:a16="http://schemas.microsoft.com/office/drawing/2014/main" id="{DB148712-C4D8-F5B3-4CA0-1E694BA05AE7}"/>
              </a:ext>
            </a:extLst>
          </p:cNvPr>
          <p:cNvSpPr/>
          <p:nvPr/>
        </p:nvSpPr>
        <p:spPr bwMode="auto">
          <a:xfrm rot="853524">
            <a:off x="7866661" y="1703231"/>
            <a:ext cx="1292193"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a:ln>
                  <a:noFill/>
                </a:ln>
                <a:solidFill>
                  <a:schemeClr val="bg1"/>
                </a:solidFill>
                <a:effectLst/>
                <a:latin typeface="+mn-lt"/>
                <a:cs typeface="Calibri Light" panose="020F0302020204030204" pitchFamily="34" charset="0"/>
              </a:rPr>
              <a:t>Rückblick</a:t>
            </a:r>
          </a:p>
        </p:txBody>
      </p:sp>
    </p:spTree>
    <p:extLst>
      <p:ext uri="{BB962C8B-B14F-4D97-AF65-F5344CB8AC3E}">
        <p14:creationId xmlns:p14="http://schemas.microsoft.com/office/powerpoint/2010/main" val="10077380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2: Aktivierung</a:t>
            </a:r>
          </a:p>
        </p:txBody>
      </p:sp>
      <p:pic>
        <p:nvPicPr>
          <p:cNvPr id="5" name="Grafik 4">
            <a:extLst>
              <a:ext uri="{FF2B5EF4-FFF2-40B4-BE49-F238E27FC236}">
                <a16:creationId xmlns:a16="http://schemas.microsoft.com/office/drawing/2014/main" id="{F518C6BA-85FE-12DE-6F30-7B3AE4C6DCC3}"/>
              </a:ext>
            </a:extLst>
          </p:cNvPr>
          <p:cNvPicPr>
            <a:picLocks noChangeAspect="1"/>
          </p:cNvPicPr>
          <p:nvPr/>
        </p:nvPicPr>
        <p:blipFill>
          <a:blip r:embed="rId3"/>
          <a:srcRect/>
          <a:stretch/>
        </p:blipFill>
        <p:spPr>
          <a:xfrm>
            <a:off x="111250" y="1997048"/>
            <a:ext cx="2899667" cy="41294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Grafik 6">
            <a:extLst>
              <a:ext uri="{FF2B5EF4-FFF2-40B4-BE49-F238E27FC236}">
                <a16:creationId xmlns:a16="http://schemas.microsoft.com/office/drawing/2014/main" id="{9F85CE8C-1629-4053-5744-16E77211DC59}"/>
              </a:ext>
            </a:extLst>
          </p:cNvPr>
          <p:cNvPicPr>
            <a:picLocks noChangeAspect="1"/>
          </p:cNvPicPr>
          <p:nvPr/>
        </p:nvPicPr>
        <p:blipFill>
          <a:blip r:embed="rId4"/>
          <a:srcRect/>
          <a:stretch/>
        </p:blipFill>
        <p:spPr>
          <a:xfrm>
            <a:off x="3122167" y="2010608"/>
            <a:ext cx="2899667" cy="410229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9" name="Grafik 8">
            <a:extLst>
              <a:ext uri="{FF2B5EF4-FFF2-40B4-BE49-F238E27FC236}">
                <a16:creationId xmlns:a16="http://schemas.microsoft.com/office/drawing/2014/main" id="{E6F8FEEE-3268-07E2-F293-02DD160951D0}"/>
              </a:ext>
            </a:extLst>
          </p:cNvPr>
          <p:cNvPicPr>
            <a:picLocks noChangeAspect="1"/>
          </p:cNvPicPr>
          <p:nvPr/>
        </p:nvPicPr>
        <p:blipFill>
          <a:blip r:embed="rId5"/>
          <a:srcRect/>
          <a:stretch/>
        </p:blipFill>
        <p:spPr>
          <a:xfrm>
            <a:off x="6133084" y="2011477"/>
            <a:ext cx="2899667" cy="410055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feld 10">
            <a:extLst>
              <a:ext uri="{FF2B5EF4-FFF2-40B4-BE49-F238E27FC236}">
                <a16:creationId xmlns:a16="http://schemas.microsoft.com/office/drawing/2014/main" id="{A3C1D7DB-3FF8-43DF-1725-6399DD16C255}"/>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a:latin typeface="Calibri"/>
                <a:cs typeface="Calibri"/>
              </a:rPr>
              <a:t>Klasse 2</a:t>
            </a:r>
          </a:p>
        </p:txBody>
      </p:sp>
      <p:sp>
        <p:nvSpPr>
          <p:cNvPr id="13" name="Textfeld 12">
            <a:extLst>
              <a:ext uri="{FF2B5EF4-FFF2-40B4-BE49-F238E27FC236}">
                <a16:creationId xmlns:a16="http://schemas.microsoft.com/office/drawing/2014/main" id="{00A19EA9-BAD5-F747-0C14-90E7B34BA479}"/>
              </a:ext>
            </a:extLst>
          </p:cNvPr>
          <p:cNvSpPr txBox="1"/>
          <p:nvPr/>
        </p:nvSpPr>
        <p:spPr>
          <a:xfrm>
            <a:off x="1352550" y="1525523"/>
            <a:ext cx="3108154" cy="369332"/>
          </a:xfrm>
          <a:prstGeom prst="rect">
            <a:avLst/>
          </a:prstGeom>
          <a:noFill/>
        </p:spPr>
        <p:txBody>
          <a:bodyPr wrap="square" rtlCol="0">
            <a:spAutoFit/>
          </a:bodyPr>
          <a:lstStyle/>
          <a:p>
            <a:pPr marL="342900" indent="-342900">
              <a:spcBef>
                <a:spcPts val="400"/>
              </a:spcBef>
            </a:pPr>
            <a:r>
              <a:rPr lang="de-DE" sz="1800" b="1">
                <a:latin typeface="Calibri"/>
                <a:cs typeface="Calibri"/>
              </a:rPr>
              <a:t>Zahlenraum bis 20 (*bis 100)</a:t>
            </a:r>
          </a:p>
        </p:txBody>
      </p:sp>
      <p:sp>
        <p:nvSpPr>
          <p:cNvPr id="4" name="Rechteck 3">
            <a:extLst>
              <a:ext uri="{FF2B5EF4-FFF2-40B4-BE49-F238E27FC236}">
                <a16:creationId xmlns:a16="http://schemas.microsoft.com/office/drawing/2014/main" id="{641F54C1-BDB4-8B74-12BF-12DE16663B85}"/>
              </a:ext>
            </a:extLst>
          </p:cNvPr>
          <p:cNvSpPr/>
          <p:nvPr/>
        </p:nvSpPr>
        <p:spPr bwMode="auto">
          <a:xfrm rot="853524">
            <a:off x="7661916" y="1674621"/>
            <a:ext cx="1292193" cy="534158"/>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 &amp;</a:t>
            </a:r>
            <a:endParaRPr lang="de-DE" sz="1600" b="1" dirty="0">
              <a:solidFill>
                <a:schemeClr val="bg1"/>
              </a:solidFill>
              <a:latin typeface="+mn-lt"/>
              <a:cs typeface="Calibri Light" panose="020F03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r>
              <a:rPr lang="de-DE" sz="1600" b="1" dirty="0">
                <a:solidFill>
                  <a:schemeClr val="bg1"/>
                </a:solidFill>
                <a:latin typeface="+mn-lt"/>
                <a:cs typeface="Calibri Light" panose="020F0302020204030204" pitchFamily="34" charset="0"/>
              </a:rPr>
              <a:t>Aus</a:t>
            </a:r>
            <a:r>
              <a:rPr kumimoji="0" lang="de-DE" sz="1600" b="1" u="none" strike="noStrike" cap="none" normalizeH="0" baseline="0" dirty="0">
                <a:ln>
                  <a:noFill/>
                </a:ln>
                <a:solidFill>
                  <a:schemeClr val="bg1"/>
                </a:solidFill>
                <a:effectLst/>
                <a:latin typeface="+mn-lt"/>
                <a:cs typeface="Calibri Light" panose="020F0302020204030204" pitchFamily="34" charset="0"/>
              </a:rPr>
              <a:t>blick</a:t>
            </a:r>
          </a:p>
        </p:txBody>
      </p:sp>
      <p:grpSp>
        <p:nvGrpSpPr>
          <p:cNvPr id="3" name="Gruppieren 2">
            <a:extLst>
              <a:ext uri="{FF2B5EF4-FFF2-40B4-BE49-F238E27FC236}">
                <a16:creationId xmlns:a16="http://schemas.microsoft.com/office/drawing/2014/main" id="{088970C9-9CC4-0EB1-925B-99FB3C489E99}"/>
              </a:ext>
            </a:extLst>
          </p:cNvPr>
          <p:cNvGrpSpPr/>
          <p:nvPr/>
        </p:nvGrpSpPr>
        <p:grpSpPr>
          <a:xfrm>
            <a:off x="107788" y="274288"/>
            <a:ext cx="8928424" cy="927211"/>
            <a:chOff x="0" y="0"/>
            <a:chExt cx="5818764" cy="733300"/>
          </a:xfrm>
        </p:grpSpPr>
        <p:sp>
          <p:nvSpPr>
            <p:cNvPr id="10" name="Gefaltete Ecke 8">
              <a:extLst>
                <a:ext uri="{FF2B5EF4-FFF2-40B4-BE49-F238E27FC236}">
                  <a16:creationId xmlns:a16="http://schemas.microsoft.com/office/drawing/2014/main" id="{F744F6EB-0CB5-C73F-9257-3CBA9ED76F97}"/>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2" name="Textfeld 1">
              <a:extLst>
                <a:ext uri="{FF2B5EF4-FFF2-40B4-BE49-F238E27FC236}">
                  <a16:creationId xmlns:a16="http://schemas.microsoft.com/office/drawing/2014/main" id="{7117EB74-C98D-F9DE-1AD7-A81E349D7DC2}"/>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4" name="Picture 3">
            <a:extLst>
              <a:ext uri="{FF2B5EF4-FFF2-40B4-BE49-F238E27FC236}">
                <a16:creationId xmlns:a16="http://schemas.microsoft.com/office/drawing/2014/main" id="{6FA2CC40-FBD9-6F05-421F-0BA40BBB1ACC}"/>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Tree>
    <p:extLst>
      <p:ext uri="{BB962C8B-B14F-4D97-AF65-F5344CB8AC3E}">
        <p14:creationId xmlns:p14="http://schemas.microsoft.com/office/powerpoint/2010/main" val="600346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629973751"/>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3.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a:solidFill>
                            <a:schemeClr val="accent1"/>
                          </a:solidFill>
                        </a:rPr>
                        <a:t>Reflexion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a:solidFill>
                            <a:schemeClr val="accent1"/>
                          </a:solidFill>
                        </a:rPr>
                        <a:t>Reflexion über den didaktischen Gehalt und die Anschlussfähigkeit der teilenden Vorstellung ‚passen in‘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a:solidFill>
                            <a:schemeClr val="accent1"/>
                          </a:solidFill>
                        </a:rPr>
                        <a:t>3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2F470F9D-DA8F-054A-848A-44C1172838E1}"/>
              </a:ext>
            </a:extLst>
          </p:cNvPr>
          <p:cNvSpPr>
            <a:spLocks noGrp="1"/>
          </p:cNvSpPr>
          <p:nvPr>
            <p:ph idx="1"/>
          </p:nvPr>
        </p:nvSpPr>
        <p:spPr>
          <a:xfrm>
            <a:off x="252000" y="1875502"/>
            <a:ext cx="8640000" cy="4368436"/>
          </a:xfrm>
        </p:spPr>
        <p:txBody>
          <a:bodyPr/>
          <a:lstStyle/>
          <a:p>
            <a:r>
              <a:rPr lang="de-DE"/>
              <a:t>Die nächsten Folien dienen dazu:</a:t>
            </a:r>
          </a:p>
          <a:p>
            <a:pPr lvl="1"/>
            <a:r>
              <a:rPr lang="de-DE"/>
              <a:t>die neun Basiskompetenzen eines tragfähigen Zahlverständnisses den Aufgaben der Standortbestimmung gezielt zuzuordnen sowie</a:t>
            </a:r>
          </a:p>
          <a:p>
            <a:pPr lvl="1"/>
            <a:r>
              <a:rPr lang="de-DE"/>
              <a:t>Anregungen hinsichtlich einer anschlussfähigen Planung von Förderung zu geben. </a:t>
            </a:r>
          </a:p>
          <a:p>
            <a:pPr>
              <a:spcAft>
                <a:spcPts val="0"/>
              </a:spcAft>
            </a:pPr>
            <a:r>
              <a:rPr lang="de-DE"/>
              <a:t>Didaktische Umsetzung:</a:t>
            </a:r>
            <a:br>
              <a:rPr lang="de-DE"/>
            </a:br>
            <a:r>
              <a:rPr lang="de-DE"/>
              <a:t>Diskutieren Sie mit Ihrem Kollegium die folgenden Reflexionsfragen:</a:t>
            </a:r>
          </a:p>
          <a:p>
            <a:pPr lvl="2">
              <a:spcAft>
                <a:spcPts val="0"/>
              </a:spcAft>
            </a:pPr>
            <a:r>
              <a:rPr lang="de-DE" i="1"/>
              <a:t>Inwiefern sind die Standortbestimmungen geeignet, die Basiskompetenzen der Schülerinnen und Schüler zum Schuljahresbeginn in Hinblick auf das Zahlverständnis zu erfassen? </a:t>
            </a:r>
          </a:p>
          <a:p>
            <a:pPr lvl="2"/>
            <a:r>
              <a:rPr lang="de-DE" i="1"/>
              <a:t>Inwiefern können die Standortbestimmungen einen Ausgangspunkt für die Gestaltung passender Förderungen darstellen? </a:t>
            </a:r>
          </a:p>
          <a:p>
            <a:pPr lvl="2"/>
            <a:r>
              <a:rPr lang="de-DE"/>
              <a:t>Die folgenden Folien können optional zu Veranschaulichung verwendet werden. </a:t>
            </a:r>
          </a:p>
          <a:p>
            <a:pPr marL="216000" lvl="1" indent="0">
              <a:buNone/>
            </a:pPr>
            <a:endParaRPr lang="de-DE"/>
          </a:p>
          <a:p>
            <a:pPr lvl="1"/>
            <a:endParaRPr lang="de-DE"/>
          </a:p>
          <a:p>
            <a:pPr lvl="1"/>
            <a:endParaRPr lang="de-DE"/>
          </a:p>
        </p:txBody>
      </p:sp>
      <p:sp>
        <p:nvSpPr>
          <p:cNvPr id="6" name="Rechteck 5">
            <a:extLst>
              <a:ext uri="{FF2B5EF4-FFF2-40B4-BE49-F238E27FC236}">
                <a16:creationId xmlns:a16="http://schemas.microsoft.com/office/drawing/2014/main" id="{4134667C-48CB-784B-9F7F-967DB341532C}"/>
              </a:ext>
            </a:extLst>
          </p:cNvPr>
          <p:cNvSpPr/>
          <p:nvPr/>
        </p:nvSpPr>
        <p:spPr bwMode="auto">
          <a:xfrm>
            <a:off x="0" y="6503940"/>
            <a:ext cx="188180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3: Reflexion</a:t>
            </a:r>
          </a:p>
        </p:txBody>
      </p:sp>
    </p:spTree>
    <p:extLst>
      <p:ext uri="{BB962C8B-B14F-4D97-AF65-F5344CB8AC3E}">
        <p14:creationId xmlns:p14="http://schemas.microsoft.com/office/powerpoint/2010/main" val="35405608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6" name="Gruppieren 35">
            <a:extLst>
              <a:ext uri="{FF2B5EF4-FFF2-40B4-BE49-F238E27FC236}">
                <a16:creationId xmlns:a16="http://schemas.microsoft.com/office/drawing/2014/main" id="{0B308AB0-4E2C-D341-C309-74B6048B90E1}"/>
              </a:ext>
            </a:extLst>
          </p:cNvPr>
          <p:cNvGrpSpPr/>
          <p:nvPr/>
        </p:nvGrpSpPr>
        <p:grpSpPr>
          <a:xfrm>
            <a:off x="378121" y="1894855"/>
            <a:ext cx="8374480" cy="4496080"/>
            <a:chOff x="476172" y="1894855"/>
            <a:chExt cx="8374480" cy="4496080"/>
          </a:xfrm>
        </p:grpSpPr>
        <p:grpSp>
          <p:nvGrpSpPr>
            <p:cNvPr id="37" name="Gruppieren 36">
              <a:extLst>
                <a:ext uri="{FF2B5EF4-FFF2-40B4-BE49-F238E27FC236}">
                  <a16:creationId xmlns:a16="http://schemas.microsoft.com/office/drawing/2014/main" id="{8AC9A814-A6D4-22F3-16AD-BB697F4C236B}"/>
                </a:ext>
              </a:extLst>
            </p:cNvPr>
            <p:cNvGrpSpPr/>
            <p:nvPr/>
          </p:nvGrpSpPr>
          <p:grpSpPr>
            <a:xfrm>
              <a:off x="476172" y="1894855"/>
              <a:ext cx="8374480" cy="2968040"/>
              <a:chOff x="388332" y="2218879"/>
              <a:chExt cx="8374480" cy="2968040"/>
            </a:xfrm>
          </p:grpSpPr>
          <p:pic>
            <p:nvPicPr>
              <p:cNvPr id="47" name="Grafik 46">
                <a:extLst>
                  <a:ext uri="{FF2B5EF4-FFF2-40B4-BE49-F238E27FC236}">
                    <a16:creationId xmlns:a16="http://schemas.microsoft.com/office/drawing/2014/main" id="{1E18CC79-D5F0-5223-22C1-EB7E6382BAA5}"/>
                  </a:ext>
                </a:extLst>
              </p:cNvPr>
              <p:cNvPicPr>
                <a:picLocks noChangeAspect="1"/>
              </p:cNvPicPr>
              <p:nvPr/>
            </p:nvPicPr>
            <p:blipFill>
              <a:blip r:embed="rId3"/>
              <a:srcRect/>
              <a:stretch/>
            </p:blipFill>
            <p:spPr>
              <a:xfrm>
                <a:off x="1460811" y="2218879"/>
                <a:ext cx="1906728" cy="1440000"/>
              </a:xfrm>
              <a:prstGeom prst="rect">
                <a:avLst/>
              </a:prstGeom>
              <a:ln>
                <a:solidFill>
                  <a:schemeClr val="tx1"/>
                </a:solidFill>
              </a:ln>
            </p:spPr>
          </p:pic>
          <p:pic>
            <p:nvPicPr>
              <p:cNvPr id="48" name="Grafik 47">
                <a:extLst>
                  <a:ext uri="{FF2B5EF4-FFF2-40B4-BE49-F238E27FC236}">
                    <a16:creationId xmlns:a16="http://schemas.microsoft.com/office/drawing/2014/main" id="{A477BD4F-39B6-2993-928F-1AC0C5A7609C}"/>
                  </a:ext>
                </a:extLst>
              </p:cNvPr>
              <p:cNvPicPr>
                <a:picLocks noChangeAspect="1"/>
              </p:cNvPicPr>
              <p:nvPr/>
            </p:nvPicPr>
            <p:blipFill>
              <a:blip r:embed="rId4"/>
              <a:stretch>
                <a:fillRect/>
              </a:stretch>
            </p:blipFill>
            <p:spPr>
              <a:xfrm>
                <a:off x="388332" y="3746919"/>
                <a:ext cx="1920000" cy="1440000"/>
              </a:xfrm>
              <a:prstGeom prst="rect">
                <a:avLst/>
              </a:prstGeom>
              <a:ln>
                <a:solidFill>
                  <a:schemeClr val="tx1"/>
                </a:solidFill>
              </a:ln>
            </p:spPr>
          </p:pic>
          <p:pic>
            <p:nvPicPr>
              <p:cNvPr id="49" name="Grafik 48">
                <a:extLst>
                  <a:ext uri="{FF2B5EF4-FFF2-40B4-BE49-F238E27FC236}">
                    <a16:creationId xmlns:a16="http://schemas.microsoft.com/office/drawing/2014/main" id="{D7EE96D1-D30F-CE8E-6848-841D6AE32DAE}"/>
                  </a:ext>
                </a:extLst>
              </p:cNvPr>
              <p:cNvPicPr>
                <a:picLocks noChangeAspect="1"/>
              </p:cNvPicPr>
              <p:nvPr/>
            </p:nvPicPr>
            <p:blipFill>
              <a:blip r:embed="rId5"/>
              <a:stretch>
                <a:fillRect/>
              </a:stretch>
            </p:blipFill>
            <p:spPr>
              <a:xfrm>
                <a:off x="6841332" y="3746919"/>
                <a:ext cx="1921480" cy="1440000"/>
              </a:xfrm>
              <a:prstGeom prst="rect">
                <a:avLst/>
              </a:prstGeom>
              <a:ln>
                <a:solidFill>
                  <a:schemeClr val="tx1"/>
                </a:solidFill>
              </a:ln>
            </p:spPr>
          </p:pic>
        </p:grpSp>
        <p:grpSp>
          <p:nvGrpSpPr>
            <p:cNvPr id="38" name="Gruppieren 37">
              <a:extLst>
                <a:ext uri="{FF2B5EF4-FFF2-40B4-BE49-F238E27FC236}">
                  <a16:creationId xmlns:a16="http://schemas.microsoft.com/office/drawing/2014/main" id="{D3F146A1-70FE-0D44-8C96-1DEC12C876FA}"/>
                </a:ext>
              </a:extLst>
            </p:cNvPr>
            <p:cNvGrpSpPr/>
            <p:nvPr/>
          </p:nvGrpSpPr>
          <p:grpSpPr>
            <a:xfrm>
              <a:off x="3706312" y="1894855"/>
              <a:ext cx="4098798" cy="4496080"/>
              <a:chOff x="3051862" y="2218879"/>
              <a:chExt cx="4098798" cy="4496080"/>
            </a:xfrm>
          </p:grpSpPr>
          <p:pic>
            <p:nvPicPr>
              <p:cNvPr id="44" name="Grafik 43">
                <a:extLst>
                  <a:ext uri="{FF2B5EF4-FFF2-40B4-BE49-F238E27FC236}">
                    <a16:creationId xmlns:a16="http://schemas.microsoft.com/office/drawing/2014/main" id="{1F8561F6-31FD-7E19-560A-487D60EC1333}"/>
                  </a:ext>
                </a:extLst>
              </p:cNvPr>
              <p:cNvPicPr>
                <a:picLocks noChangeAspect="1"/>
              </p:cNvPicPr>
              <p:nvPr/>
            </p:nvPicPr>
            <p:blipFill>
              <a:blip r:embed="rId6"/>
              <a:stretch>
                <a:fillRect/>
              </a:stretch>
            </p:blipFill>
            <p:spPr>
              <a:xfrm>
                <a:off x="3051862" y="2218879"/>
                <a:ext cx="1917042" cy="1440000"/>
              </a:xfrm>
              <a:prstGeom prst="rect">
                <a:avLst/>
              </a:prstGeom>
              <a:ln>
                <a:solidFill>
                  <a:schemeClr val="tx1"/>
                </a:solidFill>
              </a:ln>
            </p:spPr>
          </p:pic>
          <p:pic>
            <p:nvPicPr>
              <p:cNvPr id="45" name="Grafik 44">
                <a:extLst>
                  <a:ext uri="{FF2B5EF4-FFF2-40B4-BE49-F238E27FC236}">
                    <a16:creationId xmlns:a16="http://schemas.microsoft.com/office/drawing/2014/main" id="{A15C275B-A3DD-D6EF-2CAD-F6EC9E165332}"/>
                  </a:ext>
                </a:extLst>
              </p:cNvPr>
              <p:cNvPicPr>
                <a:picLocks noChangeAspect="1"/>
              </p:cNvPicPr>
              <p:nvPr/>
            </p:nvPicPr>
            <p:blipFill>
              <a:blip r:embed="rId7"/>
              <a:stretch>
                <a:fillRect/>
              </a:stretch>
            </p:blipFill>
            <p:spPr>
              <a:xfrm>
                <a:off x="5226963" y="2218879"/>
                <a:ext cx="1923697" cy="1440000"/>
              </a:xfrm>
              <a:prstGeom prst="rect">
                <a:avLst/>
              </a:prstGeom>
              <a:ln>
                <a:solidFill>
                  <a:schemeClr val="tx1"/>
                </a:solidFill>
              </a:ln>
            </p:spPr>
          </p:pic>
          <p:pic>
            <p:nvPicPr>
              <p:cNvPr id="46" name="Grafik 45">
                <a:extLst>
                  <a:ext uri="{FF2B5EF4-FFF2-40B4-BE49-F238E27FC236}">
                    <a16:creationId xmlns:a16="http://schemas.microsoft.com/office/drawing/2014/main" id="{5892049A-EE5E-6423-5799-A31AD5FC8E27}"/>
                  </a:ext>
                </a:extLst>
              </p:cNvPr>
              <p:cNvPicPr>
                <a:picLocks noChangeAspect="1"/>
              </p:cNvPicPr>
              <p:nvPr/>
            </p:nvPicPr>
            <p:blipFill>
              <a:blip r:embed="rId8"/>
              <a:stretch>
                <a:fillRect/>
              </a:stretch>
            </p:blipFill>
            <p:spPr>
              <a:xfrm>
                <a:off x="3055337" y="5274959"/>
                <a:ext cx="1919261" cy="1440000"/>
              </a:xfrm>
              <a:prstGeom prst="rect">
                <a:avLst/>
              </a:prstGeom>
              <a:ln>
                <a:solidFill>
                  <a:schemeClr val="tx1"/>
                </a:solidFill>
              </a:ln>
            </p:spPr>
          </p:pic>
        </p:grpSp>
        <p:grpSp>
          <p:nvGrpSpPr>
            <p:cNvPr id="39" name="Gruppieren 38">
              <a:extLst>
                <a:ext uri="{FF2B5EF4-FFF2-40B4-BE49-F238E27FC236}">
                  <a16:creationId xmlns:a16="http://schemas.microsoft.com/office/drawing/2014/main" id="{DDE8306A-842D-0618-3FD9-7C9468572755}"/>
                </a:ext>
              </a:extLst>
            </p:cNvPr>
            <p:cNvGrpSpPr/>
            <p:nvPr/>
          </p:nvGrpSpPr>
          <p:grpSpPr>
            <a:xfrm>
              <a:off x="1534992" y="3422895"/>
              <a:ext cx="6270118" cy="2968040"/>
              <a:chOff x="1961100" y="3746919"/>
              <a:chExt cx="6270118" cy="2968040"/>
            </a:xfrm>
          </p:grpSpPr>
          <p:pic>
            <p:nvPicPr>
              <p:cNvPr id="40" name="Grafik 39">
                <a:extLst>
                  <a:ext uri="{FF2B5EF4-FFF2-40B4-BE49-F238E27FC236}">
                    <a16:creationId xmlns:a16="http://schemas.microsoft.com/office/drawing/2014/main" id="{1C8E7C4C-7B3B-98D3-ED36-A377ACF0C06C}"/>
                  </a:ext>
                </a:extLst>
              </p:cNvPr>
              <p:cNvPicPr>
                <a:picLocks noChangeAspect="1"/>
              </p:cNvPicPr>
              <p:nvPr/>
            </p:nvPicPr>
            <p:blipFill>
              <a:blip r:embed="rId9"/>
              <a:stretch>
                <a:fillRect/>
              </a:stretch>
            </p:blipFill>
            <p:spPr>
              <a:xfrm>
                <a:off x="5217737" y="3746919"/>
                <a:ext cx="1920000" cy="1440000"/>
              </a:xfrm>
              <a:prstGeom prst="rect">
                <a:avLst/>
              </a:prstGeom>
              <a:ln>
                <a:solidFill>
                  <a:schemeClr val="tx1"/>
                </a:solidFill>
              </a:ln>
            </p:spPr>
          </p:pic>
          <p:pic>
            <p:nvPicPr>
              <p:cNvPr id="41" name="Grafik 40">
                <a:extLst>
                  <a:ext uri="{FF2B5EF4-FFF2-40B4-BE49-F238E27FC236}">
                    <a16:creationId xmlns:a16="http://schemas.microsoft.com/office/drawing/2014/main" id="{1ADAFE5D-63EB-AD8D-FB24-54CF0C341DF6}"/>
                  </a:ext>
                </a:extLst>
              </p:cNvPr>
              <p:cNvPicPr>
                <a:picLocks noChangeAspect="1"/>
              </p:cNvPicPr>
              <p:nvPr/>
            </p:nvPicPr>
            <p:blipFill>
              <a:blip r:embed="rId10"/>
              <a:stretch>
                <a:fillRect/>
              </a:stretch>
            </p:blipFill>
            <p:spPr>
              <a:xfrm>
                <a:off x="1961100" y="5274959"/>
                <a:ext cx="1914092" cy="1440000"/>
              </a:xfrm>
              <a:prstGeom prst="rect">
                <a:avLst/>
              </a:prstGeom>
              <a:ln>
                <a:solidFill>
                  <a:schemeClr val="tx1"/>
                </a:solidFill>
              </a:ln>
            </p:spPr>
          </p:pic>
          <p:pic>
            <p:nvPicPr>
              <p:cNvPr id="42" name="Grafik 41">
                <a:extLst>
                  <a:ext uri="{FF2B5EF4-FFF2-40B4-BE49-F238E27FC236}">
                    <a16:creationId xmlns:a16="http://schemas.microsoft.com/office/drawing/2014/main" id="{B5C7D430-2DC1-B250-02C2-B576EA23F191}"/>
                  </a:ext>
                </a:extLst>
              </p:cNvPr>
              <p:cNvPicPr>
                <a:picLocks noChangeAspect="1"/>
              </p:cNvPicPr>
              <p:nvPr/>
            </p:nvPicPr>
            <p:blipFill>
              <a:blip r:embed="rId11"/>
              <a:stretch>
                <a:fillRect/>
              </a:stretch>
            </p:blipFill>
            <p:spPr>
              <a:xfrm>
                <a:off x="3061740" y="3746919"/>
                <a:ext cx="1920738" cy="1440000"/>
              </a:xfrm>
              <a:prstGeom prst="rect">
                <a:avLst/>
              </a:prstGeom>
              <a:ln>
                <a:solidFill>
                  <a:schemeClr val="tx1"/>
                </a:solidFill>
              </a:ln>
            </p:spPr>
          </p:pic>
          <p:pic>
            <p:nvPicPr>
              <p:cNvPr id="43" name="Grafik 42">
                <a:extLst>
                  <a:ext uri="{FF2B5EF4-FFF2-40B4-BE49-F238E27FC236}">
                    <a16:creationId xmlns:a16="http://schemas.microsoft.com/office/drawing/2014/main" id="{B7C0E1AD-E567-9840-A86A-30253996ACB1}"/>
                  </a:ext>
                </a:extLst>
              </p:cNvPr>
              <p:cNvPicPr>
                <a:picLocks noChangeAspect="1"/>
              </p:cNvPicPr>
              <p:nvPr/>
            </p:nvPicPr>
            <p:blipFill>
              <a:blip r:embed="rId12"/>
              <a:stretch>
                <a:fillRect/>
              </a:stretch>
            </p:blipFill>
            <p:spPr>
              <a:xfrm>
                <a:off x="6314176" y="5274959"/>
                <a:ext cx="1917042" cy="1440000"/>
              </a:xfrm>
              <a:prstGeom prst="rect">
                <a:avLst/>
              </a:prstGeom>
              <a:ln>
                <a:solidFill>
                  <a:schemeClr val="tx1"/>
                </a:solidFill>
              </a:ln>
            </p:spPr>
          </p:pic>
        </p:grpSp>
      </p:grpSp>
      <p:sp>
        <p:nvSpPr>
          <p:cNvPr id="4" name="Textfeld 3">
            <a:extLst>
              <a:ext uri="{FF2B5EF4-FFF2-40B4-BE49-F238E27FC236}">
                <a16:creationId xmlns:a16="http://schemas.microsoft.com/office/drawing/2014/main" id="{FFA523F9-7D99-D0AB-7D5D-FB7B1405BB31}"/>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a:latin typeface="Calibri"/>
                <a:cs typeface="Calibri"/>
              </a:rPr>
              <a:t>Klasse 1</a:t>
            </a:r>
          </a:p>
        </p:txBody>
      </p:sp>
      <p:sp>
        <p:nvSpPr>
          <p:cNvPr id="5" name="Textfeld 4">
            <a:extLst>
              <a:ext uri="{FF2B5EF4-FFF2-40B4-BE49-F238E27FC236}">
                <a16:creationId xmlns:a16="http://schemas.microsoft.com/office/drawing/2014/main" id="{3F2FD22B-5AC3-2836-ECEA-62B9181319AC}"/>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a:latin typeface="Calibri"/>
                <a:cs typeface="Calibri"/>
              </a:rPr>
              <a:t>Zahlenraum bis 20</a:t>
            </a:r>
          </a:p>
        </p:txBody>
      </p:sp>
      <p:sp>
        <p:nvSpPr>
          <p:cNvPr id="8" name="Rechteck 7">
            <a:extLst>
              <a:ext uri="{FF2B5EF4-FFF2-40B4-BE49-F238E27FC236}">
                <a16:creationId xmlns:a16="http://schemas.microsoft.com/office/drawing/2014/main" id="{08CB0660-292A-CC95-1129-B2FD6C4E0CF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a:t>
            </a:r>
            <a:r>
              <a:rPr lang="de-DE" sz="180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Reflexion</a:t>
            </a:r>
          </a:p>
        </p:txBody>
      </p:sp>
      <p:sp>
        <p:nvSpPr>
          <p:cNvPr id="7" name="Abgerundetes Rechteck 6">
            <a:extLst>
              <a:ext uri="{FF2B5EF4-FFF2-40B4-BE49-F238E27FC236}">
                <a16:creationId xmlns:a16="http://schemas.microsoft.com/office/drawing/2014/main" id="{80DBA76E-C5BF-770E-B0D2-CDABA748B63E}"/>
              </a:ext>
            </a:extLst>
          </p:cNvPr>
          <p:cNvSpPr/>
          <p:nvPr/>
        </p:nvSpPr>
        <p:spPr bwMode="auto">
          <a:xfrm>
            <a:off x="1777536" y="1867676"/>
            <a:ext cx="1708821" cy="38015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Zahlen beschreiben und benennen. </a:t>
            </a:r>
          </a:p>
        </p:txBody>
      </p:sp>
      <p:sp>
        <p:nvSpPr>
          <p:cNvPr id="15" name="Abgerundetes Rechteck 14">
            <a:extLst>
              <a:ext uri="{FF2B5EF4-FFF2-40B4-BE49-F238E27FC236}">
                <a16:creationId xmlns:a16="http://schemas.microsoft.com/office/drawing/2014/main" id="{2D84E545-6850-41ED-8EF3-7E2F30852ACA}"/>
              </a:ext>
            </a:extLst>
          </p:cNvPr>
          <p:cNvSpPr/>
          <p:nvPr/>
        </p:nvSpPr>
        <p:spPr bwMode="auto">
          <a:xfrm>
            <a:off x="6189162" y="1867676"/>
            <a:ext cx="1852431" cy="539513"/>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mit Material dar-gestellte Zahlen lesen (Zahlen sprechen) und darstellen.</a:t>
            </a:r>
          </a:p>
        </p:txBody>
      </p:sp>
      <p:sp>
        <p:nvSpPr>
          <p:cNvPr id="28" name="Abgerundete rechteckige Legende 27">
            <a:extLst>
              <a:ext uri="{FF2B5EF4-FFF2-40B4-BE49-F238E27FC236}">
                <a16:creationId xmlns:a16="http://schemas.microsoft.com/office/drawing/2014/main" id="{D28BABCA-DEB6-8E02-C6C4-B8DC88CFA510}"/>
              </a:ext>
            </a:extLst>
          </p:cNvPr>
          <p:cNvSpPr/>
          <p:nvPr/>
        </p:nvSpPr>
        <p:spPr bwMode="auto">
          <a:xfrm>
            <a:off x="5010672" y="3362034"/>
            <a:ext cx="1155659" cy="380156"/>
          </a:xfrm>
          <a:prstGeom prst="wedgeRoundRectCallout">
            <a:avLst>
              <a:gd name="adj1" fmla="val 29240"/>
              <a:gd name="adj2" fmla="val -4777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bündeln und entbündeln.</a:t>
            </a:r>
          </a:p>
        </p:txBody>
      </p:sp>
      <p:sp>
        <p:nvSpPr>
          <p:cNvPr id="29" name="Abgerundetes Rechteck 28">
            <a:extLst>
              <a:ext uri="{FF2B5EF4-FFF2-40B4-BE49-F238E27FC236}">
                <a16:creationId xmlns:a16="http://schemas.microsoft.com/office/drawing/2014/main" id="{D65ED348-2ADA-47CD-775E-80B702086A48}"/>
              </a:ext>
            </a:extLst>
          </p:cNvPr>
          <p:cNvSpPr/>
          <p:nvPr/>
        </p:nvSpPr>
        <p:spPr bwMode="auto">
          <a:xfrm>
            <a:off x="6189162" y="2467930"/>
            <a:ext cx="2057530" cy="659955"/>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
        <p:nvSpPr>
          <p:cNvPr id="30" name="Abgerundete rechteckige Legende 29">
            <a:extLst>
              <a:ext uri="{FF2B5EF4-FFF2-40B4-BE49-F238E27FC236}">
                <a16:creationId xmlns:a16="http://schemas.microsoft.com/office/drawing/2014/main" id="{6AF10BBE-5F7F-86D5-9EB2-256575EF50AC}"/>
              </a:ext>
            </a:extLst>
          </p:cNvPr>
          <p:cNvSpPr/>
          <p:nvPr/>
        </p:nvSpPr>
        <p:spPr bwMode="auto">
          <a:xfrm>
            <a:off x="6085842" y="4896586"/>
            <a:ext cx="2195034" cy="553560"/>
          </a:xfrm>
          <a:prstGeom prst="wedgeRoundRectCallout">
            <a:avLst>
              <a:gd name="adj1" fmla="val -21426"/>
              <a:gd name="adj2" fmla="val 44676"/>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Beziehungen zwischen Zahlen beschreiben (Nachbarzahlen, die Hälfte/ das Doppelte).</a:t>
            </a:r>
          </a:p>
        </p:txBody>
      </p:sp>
      <p:sp>
        <p:nvSpPr>
          <p:cNvPr id="31" name="Abgerundete rechteckige Legende 30">
            <a:extLst>
              <a:ext uri="{FF2B5EF4-FFF2-40B4-BE49-F238E27FC236}">
                <a16:creationId xmlns:a16="http://schemas.microsoft.com/office/drawing/2014/main" id="{ECFD5160-F7E6-24F9-4381-DF3C1EA28A18}"/>
              </a:ext>
            </a:extLst>
          </p:cNvPr>
          <p:cNvSpPr/>
          <p:nvPr/>
        </p:nvSpPr>
        <p:spPr bwMode="auto">
          <a:xfrm>
            <a:off x="3937209" y="4896586"/>
            <a:ext cx="1512738" cy="380156"/>
          </a:xfrm>
          <a:prstGeom prst="wedgeRoundRectCallout">
            <a:avLst>
              <a:gd name="adj1" fmla="val -23006"/>
              <a:gd name="adj2" fmla="val 4480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Zahlen ordnen und vergleichen. </a:t>
            </a:r>
          </a:p>
        </p:txBody>
      </p:sp>
      <p:sp>
        <p:nvSpPr>
          <p:cNvPr id="32" name="Abgerundete rechteckige Legende 31">
            <a:extLst>
              <a:ext uri="{FF2B5EF4-FFF2-40B4-BE49-F238E27FC236}">
                <a16:creationId xmlns:a16="http://schemas.microsoft.com/office/drawing/2014/main" id="{D9D7CF5F-1AC1-1687-40D2-4FA3983E95AB}"/>
              </a:ext>
            </a:extLst>
          </p:cNvPr>
          <p:cNvSpPr/>
          <p:nvPr/>
        </p:nvSpPr>
        <p:spPr bwMode="auto">
          <a:xfrm>
            <a:off x="7115377" y="3362034"/>
            <a:ext cx="1375380" cy="380156"/>
          </a:xfrm>
          <a:prstGeom prst="wedgeRoundRectCallout">
            <a:avLst>
              <a:gd name="adj1" fmla="val -19454"/>
              <a:gd name="adj2" fmla="val -399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Zahlen am Zahlenstrahl ablesen. </a:t>
            </a:r>
          </a:p>
        </p:txBody>
      </p:sp>
      <p:grpSp>
        <p:nvGrpSpPr>
          <p:cNvPr id="3" name="Gruppieren 2">
            <a:extLst>
              <a:ext uri="{FF2B5EF4-FFF2-40B4-BE49-F238E27FC236}">
                <a16:creationId xmlns:a16="http://schemas.microsoft.com/office/drawing/2014/main" id="{42D3B146-8D19-D2F7-2EF4-48CA7BF87693}"/>
              </a:ext>
            </a:extLst>
          </p:cNvPr>
          <p:cNvGrpSpPr/>
          <p:nvPr/>
        </p:nvGrpSpPr>
        <p:grpSpPr>
          <a:xfrm>
            <a:off x="107788" y="274288"/>
            <a:ext cx="8928424" cy="927211"/>
            <a:chOff x="0" y="0"/>
            <a:chExt cx="5818764" cy="733300"/>
          </a:xfrm>
        </p:grpSpPr>
        <p:sp>
          <p:nvSpPr>
            <p:cNvPr id="10" name="Gefaltete Ecke 8">
              <a:extLst>
                <a:ext uri="{FF2B5EF4-FFF2-40B4-BE49-F238E27FC236}">
                  <a16:creationId xmlns:a16="http://schemas.microsoft.com/office/drawing/2014/main" id="{CB47FA25-A4A0-3C6E-E4B4-EB7C76CBFF80}"/>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2" name="Textfeld 1">
              <a:extLst>
                <a:ext uri="{FF2B5EF4-FFF2-40B4-BE49-F238E27FC236}">
                  <a16:creationId xmlns:a16="http://schemas.microsoft.com/office/drawing/2014/main" id="{EF5F9952-4BB3-1CE7-C9DE-88ACFFD179CA}"/>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4" name="Picture 3">
            <a:extLst>
              <a:ext uri="{FF2B5EF4-FFF2-40B4-BE49-F238E27FC236}">
                <a16:creationId xmlns:a16="http://schemas.microsoft.com/office/drawing/2014/main" id="{2AE765E8-06CE-E069-DD29-421AFB392114}"/>
              </a:ext>
            </a:extLst>
          </p:cNvPr>
          <p:cNvPicPr>
            <a:picLocks noChangeAspect="1"/>
          </p:cNvPicPr>
          <p:nvPr/>
        </p:nvPicPr>
        <p:blipFill>
          <a:blip r:embed="rId1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55" name="Abgerundete rechteckige Legende 31">
            <a:extLst>
              <a:ext uri="{FF2B5EF4-FFF2-40B4-BE49-F238E27FC236}">
                <a16:creationId xmlns:a16="http://schemas.microsoft.com/office/drawing/2014/main" id="{0A1D9E2E-F221-D70E-42E9-F7A85B7002C6}"/>
              </a:ext>
            </a:extLst>
          </p:cNvPr>
          <p:cNvSpPr/>
          <p:nvPr/>
        </p:nvSpPr>
        <p:spPr bwMode="auto">
          <a:xfrm>
            <a:off x="1758330" y="4896586"/>
            <a:ext cx="1381080" cy="380156"/>
          </a:xfrm>
          <a:prstGeom prst="wedgeRoundRectCallout">
            <a:avLst>
              <a:gd name="adj1" fmla="val -19454"/>
              <a:gd name="adj2" fmla="val -399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Zahlen am Zahlenstrahl ablesen. </a:t>
            </a:r>
          </a:p>
        </p:txBody>
      </p:sp>
      <p:sp>
        <p:nvSpPr>
          <p:cNvPr id="56" name="Abgerundetes Rechteck 6">
            <a:extLst>
              <a:ext uri="{FF2B5EF4-FFF2-40B4-BE49-F238E27FC236}">
                <a16:creationId xmlns:a16="http://schemas.microsoft.com/office/drawing/2014/main" id="{517EB61C-A716-BC49-851F-980F842DE664}"/>
              </a:ext>
            </a:extLst>
          </p:cNvPr>
          <p:cNvSpPr/>
          <p:nvPr/>
        </p:nvSpPr>
        <p:spPr bwMode="auto">
          <a:xfrm>
            <a:off x="3922550" y="1867676"/>
            <a:ext cx="1708821" cy="38015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Zahlen beschreiben und benennen. </a:t>
            </a:r>
          </a:p>
        </p:txBody>
      </p:sp>
      <p:sp>
        <p:nvSpPr>
          <p:cNvPr id="65" name="Abgerundetes Rechteck 14">
            <a:extLst>
              <a:ext uri="{FF2B5EF4-FFF2-40B4-BE49-F238E27FC236}">
                <a16:creationId xmlns:a16="http://schemas.microsoft.com/office/drawing/2014/main" id="{1D0F2A92-A59F-5804-146D-FF6A05DB0608}"/>
              </a:ext>
            </a:extLst>
          </p:cNvPr>
          <p:cNvSpPr/>
          <p:nvPr/>
        </p:nvSpPr>
        <p:spPr bwMode="auto">
          <a:xfrm>
            <a:off x="685671" y="3362034"/>
            <a:ext cx="1852431" cy="539513"/>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mit Material dar-gestellte Zahlen lesen (Zahlen sprechen) und darstellen.</a:t>
            </a:r>
          </a:p>
        </p:txBody>
      </p:sp>
      <p:sp>
        <p:nvSpPr>
          <p:cNvPr id="66" name="Abgerundetes Rechteck 28">
            <a:extLst>
              <a:ext uri="{FF2B5EF4-FFF2-40B4-BE49-F238E27FC236}">
                <a16:creationId xmlns:a16="http://schemas.microsoft.com/office/drawing/2014/main" id="{9583EB28-06A0-7D81-519E-3F9FC2ADCA99}"/>
              </a:ext>
            </a:extLst>
          </p:cNvPr>
          <p:cNvSpPr/>
          <p:nvPr/>
        </p:nvSpPr>
        <p:spPr bwMode="auto">
          <a:xfrm>
            <a:off x="685671" y="3962288"/>
            <a:ext cx="2057530" cy="659955"/>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
        <p:nvSpPr>
          <p:cNvPr id="67" name="Abgerundetes Rechteck 14">
            <a:extLst>
              <a:ext uri="{FF2B5EF4-FFF2-40B4-BE49-F238E27FC236}">
                <a16:creationId xmlns:a16="http://schemas.microsoft.com/office/drawing/2014/main" id="{A0B712CD-BED6-AB56-F649-C5BED8ACDE4D}"/>
              </a:ext>
            </a:extLst>
          </p:cNvPr>
          <p:cNvSpPr/>
          <p:nvPr/>
        </p:nvSpPr>
        <p:spPr bwMode="auto">
          <a:xfrm>
            <a:off x="2814320" y="3362034"/>
            <a:ext cx="1852431" cy="539513"/>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mit Material dar-gestellte Zahlen lesen (Zahlen sprechen) und darstellen.</a:t>
            </a:r>
          </a:p>
        </p:txBody>
      </p:sp>
      <p:sp>
        <p:nvSpPr>
          <p:cNvPr id="68" name="Abgerundetes Rechteck 28">
            <a:extLst>
              <a:ext uri="{FF2B5EF4-FFF2-40B4-BE49-F238E27FC236}">
                <a16:creationId xmlns:a16="http://schemas.microsoft.com/office/drawing/2014/main" id="{4933EECD-231B-FCEC-B591-86F0CB8BBA06}"/>
              </a:ext>
            </a:extLst>
          </p:cNvPr>
          <p:cNvSpPr/>
          <p:nvPr/>
        </p:nvSpPr>
        <p:spPr bwMode="auto">
          <a:xfrm>
            <a:off x="2814320" y="3962288"/>
            <a:ext cx="2057530" cy="659955"/>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Tree>
    <p:extLst>
      <p:ext uri="{BB962C8B-B14F-4D97-AF65-F5344CB8AC3E}">
        <p14:creationId xmlns:p14="http://schemas.microsoft.com/office/powerpoint/2010/main" val="32517864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6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32"/>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55"/>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5" grpId="0" animBg="1"/>
      <p:bldP spid="28" grpId="0" animBg="1"/>
      <p:bldP spid="29" grpId="0" animBg="1"/>
      <p:bldP spid="30" grpId="0" animBg="1"/>
      <p:bldP spid="31" grpId="0" animBg="1"/>
      <p:bldP spid="32" grpId="0" animBg="1"/>
      <p:bldP spid="55" grpId="0" animBg="1"/>
      <p:bldP spid="56" grpId="0" animBg="1"/>
      <p:bldP spid="65" grpId="0" animBg="1"/>
      <p:bldP spid="66" grpId="0" animBg="1"/>
      <p:bldP spid="67" grpId="0" animBg="1"/>
      <p:bldP spid="6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Grafik 20">
            <a:extLst>
              <a:ext uri="{FF2B5EF4-FFF2-40B4-BE49-F238E27FC236}">
                <a16:creationId xmlns:a16="http://schemas.microsoft.com/office/drawing/2014/main" id="{A2D673A5-B5EA-83A0-097E-32443DA2A0E8}"/>
              </a:ext>
            </a:extLst>
          </p:cNvPr>
          <p:cNvPicPr>
            <a:picLocks noChangeAspect="1"/>
          </p:cNvPicPr>
          <p:nvPr/>
        </p:nvPicPr>
        <p:blipFill>
          <a:blip r:embed="rId3"/>
          <a:srcRect/>
          <a:stretch/>
        </p:blipFill>
        <p:spPr>
          <a:xfrm>
            <a:off x="111250" y="2044964"/>
            <a:ext cx="2899667" cy="40335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2" name="Grafik 21">
            <a:extLst>
              <a:ext uri="{FF2B5EF4-FFF2-40B4-BE49-F238E27FC236}">
                <a16:creationId xmlns:a16="http://schemas.microsoft.com/office/drawing/2014/main" id="{85D718FE-A53F-B1F3-1812-C90F84397FF6}"/>
              </a:ext>
            </a:extLst>
          </p:cNvPr>
          <p:cNvPicPr>
            <a:picLocks noChangeAspect="1"/>
          </p:cNvPicPr>
          <p:nvPr/>
        </p:nvPicPr>
        <p:blipFill>
          <a:blip r:embed="rId4"/>
          <a:srcRect/>
          <a:stretch/>
        </p:blipFill>
        <p:spPr>
          <a:xfrm>
            <a:off x="3122167" y="2056248"/>
            <a:ext cx="2899666" cy="40110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31" name="Grafik 30">
            <a:extLst>
              <a:ext uri="{FF2B5EF4-FFF2-40B4-BE49-F238E27FC236}">
                <a16:creationId xmlns:a16="http://schemas.microsoft.com/office/drawing/2014/main" id="{C5677955-1F82-BAD5-C8C5-F6179C1D30F6}"/>
              </a:ext>
            </a:extLst>
          </p:cNvPr>
          <p:cNvPicPr>
            <a:picLocks noChangeAspect="1"/>
          </p:cNvPicPr>
          <p:nvPr/>
        </p:nvPicPr>
        <p:blipFill>
          <a:blip r:embed="rId5"/>
          <a:srcRect/>
          <a:stretch/>
        </p:blipFill>
        <p:spPr>
          <a:xfrm>
            <a:off x="6133084" y="2056247"/>
            <a:ext cx="2899666" cy="401101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feld 7">
            <a:extLst>
              <a:ext uri="{FF2B5EF4-FFF2-40B4-BE49-F238E27FC236}">
                <a16:creationId xmlns:a16="http://schemas.microsoft.com/office/drawing/2014/main" id="{392D003D-12E1-B651-A877-15556DAB1CAA}"/>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a:latin typeface="Calibri"/>
                <a:cs typeface="Calibri"/>
              </a:rPr>
              <a:t>Klasse 2</a:t>
            </a:r>
          </a:p>
        </p:txBody>
      </p:sp>
      <p:sp>
        <p:nvSpPr>
          <p:cNvPr id="9" name="Textfeld 8">
            <a:extLst>
              <a:ext uri="{FF2B5EF4-FFF2-40B4-BE49-F238E27FC236}">
                <a16:creationId xmlns:a16="http://schemas.microsoft.com/office/drawing/2014/main" id="{2A65381E-919D-438B-5105-0E6BC95EADCC}"/>
              </a:ext>
            </a:extLst>
          </p:cNvPr>
          <p:cNvSpPr txBox="1"/>
          <p:nvPr/>
        </p:nvSpPr>
        <p:spPr>
          <a:xfrm>
            <a:off x="1352550" y="1525523"/>
            <a:ext cx="3168650" cy="369332"/>
          </a:xfrm>
          <a:prstGeom prst="rect">
            <a:avLst/>
          </a:prstGeom>
          <a:noFill/>
        </p:spPr>
        <p:txBody>
          <a:bodyPr wrap="square" rtlCol="0">
            <a:spAutoFit/>
          </a:bodyPr>
          <a:lstStyle/>
          <a:p>
            <a:pPr marL="342900" indent="-342900">
              <a:spcBef>
                <a:spcPts val="400"/>
              </a:spcBef>
            </a:pPr>
            <a:r>
              <a:rPr lang="de-DE" sz="1800" b="1">
                <a:latin typeface="Calibri"/>
                <a:cs typeface="Calibri"/>
              </a:rPr>
              <a:t>Zahlenraum bis 20 (*bis 100)</a:t>
            </a:r>
          </a:p>
        </p:txBody>
      </p:sp>
      <p:sp>
        <p:nvSpPr>
          <p:cNvPr id="4" name="Rechteck 3">
            <a:extLst>
              <a:ext uri="{FF2B5EF4-FFF2-40B4-BE49-F238E27FC236}">
                <a16:creationId xmlns:a16="http://schemas.microsoft.com/office/drawing/2014/main" id="{E8BF40C9-0760-282D-2505-74765096D454}"/>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a:t>
            </a:r>
            <a:r>
              <a:rPr lang="de-DE" sz="180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Reflexion</a:t>
            </a:r>
          </a:p>
        </p:txBody>
      </p:sp>
      <p:sp>
        <p:nvSpPr>
          <p:cNvPr id="2" name="Abgerundetes Rechteck 1">
            <a:extLst>
              <a:ext uri="{FF2B5EF4-FFF2-40B4-BE49-F238E27FC236}">
                <a16:creationId xmlns:a16="http://schemas.microsoft.com/office/drawing/2014/main" id="{C14D2076-F7D1-0470-0E21-DF97975C7D8F}"/>
              </a:ext>
            </a:extLst>
          </p:cNvPr>
          <p:cNvSpPr/>
          <p:nvPr/>
        </p:nvSpPr>
        <p:spPr bwMode="auto">
          <a:xfrm>
            <a:off x="918837" y="2569942"/>
            <a:ext cx="2203330" cy="38015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beschreiben und benennen. </a:t>
            </a:r>
          </a:p>
        </p:txBody>
      </p:sp>
      <p:sp>
        <p:nvSpPr>
          <p:cNvPr id="23" name="Abgerundetes Rechteck 22">
            <a:extLst>
              <a:ext uri="{FF2B5EF4-FFF2-40B4-BE49-F238E27FC236}">
                <a16:creationId xmlns:a16="http://schemas.microsoft.com/office/drawing/2014/main" id="{52B4DB9A-54B5-60A1-CCFE-F5A3B02CA606}"/>
              </a:ext>
            </a:extLst>
          </p:cNvPr>
          <p:cNvSpPr/>
          <p:nvPr/>
        </p:nvSpPr>
        <p:spPr bwMode="auto">
          <a:xfrm>
            <a:off x="918837" y="3075376"/>
            <a:ext cx="2203330" cy="59794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mit Material dargestellte Zahlen lesen (Zahlen sprechen) und darstellen.</a:t>
            </a:r>
          </a:p>
        </p:txBody>
      </p:sp>
      <p:sp>
        <p:nvSpPr>
          <p:cNvPr id="24" name="Abgerundete rechteckige Legende 23">
            <a:extLst>
              <a:ext uri="{FF2B5EF4-FFF2-40B4-BE49-F238E27FC236}">
                <a16:creationId xmlns:a16="http://schemas.microsoft.com/office/drawing/2014/main" id="{69EEFAC2-3A33-7639-9ECB-539821193245}"/>
              </a:ext>
            </a:extLst>
          </p:cNvPr>
          <p:cNvSpPr/>
          <p:nvPr/>
        </p:nvSpPr>
        <p:spPr bwMode="auto">
          <a:xfrm>
            <a:off x="4057746" y="3231194"/>
            <a:ext cx="2203330" cy="380156"/>
          </a:xfrm>
          <a:prstGeom prst="wedgeRoundRectCallout">
            <a:avLst>
              <a:gd name="adj1" fmla="val -11095"/>
              <a:gd name="adj2" fmla="val -4755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in Stellenwerte zerlegen. </a:t>
            </a:r>
          </a:p>
        </p:txBody>
      </p:sp>
      <p:sp>
        <p:nvSpPr>
          <p:cNvPr id="25" name="Abgerundete rechteckige Legende 24">
            <a:extLst>
              <a:ext uri="{FF2B5EF4-FFF2-40B4-BE49-F238E27FC236}">
                <a16:creationId xmlns:a16="http://schemas.microsoft.com/office/drawing/2014/main" id="{3D13C4A2-7751-46BE-68C8-0F391CCED250}"/>
              </a:ext>
            </a:extLst>
          </p:cNvPr>
          <p:cNvSpPr/>
          <p:nvPr/>
        </p:nvSpPr>
        <p:spPr bwMode="auto">
          <a:xfrm>
            <a:off x="4057746" y="2318415"/>
            <a:ext cx="2203330" cy="380156"/>
          </a:xfrm>
          <a:prstGeom prst="wedgeRoundRectCallout">
            <a:avLst>
              <a:gd name="adj1" fmla="val 29240"/>
              <a:gd name="adj2" fmla="val -4777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bündeln und entbündeln</a:t>
            </a:r>
          </a:p>
        </p:txBody>
      </p:sp>
      <p:sp>
        <p:nvSpPr>
          <p:cNvPr id="26" name="Abgerundetes Rechteck 25">
            <a:extLst>
              <a:ext uri="{FF2B5EF4-FFF2-40B4-BE49-F238E27FC236}">
                <a16:creationId xmlns:a16="http://schemas.microsoft.com/office/drawing/2014/main" id="{42E9C007-76EC-D3CE-78C9-D1D21181900F}"/>
              </a:ext>
            </a:extLst>
          </p:cNvPr>
          <p:cNvSpPr/>
          <p:nvPr/>
        </p:nvSpPr>
        <p:spPr bwMode="auto">
          <a:xfrm>
            <a:off x="918837" y="4526001"/>
            <a:ext cx="2203330" cy="891536"/>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
        <p:nvSpPr>
          <p:cNvPr id="27" name="Abgerundete rechteckige Legende 26">
            <a:extLst>
              <a:ext uri="{FF2B5EF4-FFF2-40B4-BE49-F238E27FC236}">
                <a16:creationId xmlns:a16="http://schemas.microsoft.com/office/drawing/2014/main" id="{5403E8F8-EA09-FDDF-190D-4D724673FAAB}"/>
              </a:ext>
            </a:extLst>
          </p:cNvPr>
          <p:cNvSpPr/>
          <p:nvPr/>
        </p:nvSpPr>
        <p:spPr bwMode="auto">
          <a:xfrm>
            <a:off x="6741704" y="2294276"/>
            <a:ext cx="2203330" cy="641866"/>
          </a:xfrm>
          <a:prstGeom prst="wedgeRoundRectCallout">
            <a:avLst>
              <a:gd name="adj1" fmla="val -21426"/>
              <a:gd name="adj2" fmla="val 44676"/>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Beziehungen zwischen Zahlen beschreiben (Nachbarzahlen, die Hälfte/ das Doppelte).</a:t>
            </a:r>
          </a:p>
        </p:txBody>
      </p:sp>
      <p:sp>
        <p:nvSpPr>
          <p:cNvPr id="29" name="Abgerundete rechteckige Legende 28">
            <a:extLst>
              <a:ext uri="{FF2B5EF4-FFF2-40B4-BE49-F238E27FC236}">
                <a16:creationId xmlns:a16="http://schemas.microsoft.com/office/drawing/2014/main" id="{18931DD0-77C8-64BA-6D99-0AC2A064052B}"/>
              </a:ext>
            </a:extLst>
          </p:cNvPr>
          <p:cNvSpPr/>
          <p:nvPr/>
        </p:nvSpPr>
        <p:spPr bwMode="auto">
          <a:xfrm>
            <a:off x="4057746" y="3923735"/>
            <a:ext cx="2203330" cy="380156"/>
          </a:xfrm>
          <a:prstGeom prst="wedgeRoundRectCallout">
            <a:avLst>
              <a:gd name="adj1" fmla="val -19454"/>
              <a:gd name="adj2" fmla="val -399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am Zahlenstrahl ablesen. </a:t>
            </a:r>
          </a:p>
        </p:txBody>
      </p:sp>
      <p:sp>
        <p:nvSpPr>
          <p:cNvPr id="30" name="Abgerundete rechteckige Legende 29">
            <a:extLst>
              <a:ext uri="{FF2B5EF4-FFF2-40B4-BE49-F238E27FC236}">
                <a16:creationId xmlns:a16="http://schemas.microsoft.com/office/drawing/2014/main" id="{E8758269-E45C-262E-67F1-8E5D33218921}"/>
              </a:ext>
            </a:extLst>
          </p:cNvPr>
          <p:cNvSpPr/>
          <p:nvPr/>
        </p:nvSpPr>
        <p:spPr bwMode="auto">
          <a:xfrm>
            <a:off x="6741704" y="3022990"/>
            <a:ext cx="2203330" cy="641866"/>
          </a:xfrm>
          <a:prstGeom prst="wedgeRoundRectCallout">
            <a:avLst>
              <a:gd name="adj1" fmla="val -16826"/>
              <a:gd name="adj2" fmla="val 464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flexibel zählen (vorwärts, </a:t>
            </a:r>
            <a:r>
              <a:rPr lang="de-DE" sz="1050" i="1" kern="0" dirty="0" err="1">
                <a:latin typeface="Calibri" panose="020F0502020204030204" pitchFamily="34" charset="0"/>
                <a:cs typeface="Calibri" panose="020F0502020204030204" pitchFamily="34" charset="0"/>
              </a:rPr>
              <a:t>rückwärts</a:t>
            </a:r>
            <a:r>
              <a:rPr lang="de-DE" sz="1050" i="1" kern="0" dirty="0">
                <a:latin typeface="Calibri" panose="020F0502020204030204" pitchFamily="34" charset="0"/>
                <a:cs typeface="Calibri" panose="020F0502020204030204" pitchFamily="34" charset="0"/>
              </a:rPr>
              <a:t>, in Schritten, mit beliebiger Startzahl).</a:t>
            </a:r>
          </a:p>
        </p:txBody>
      </p:sp>
      <p:grpSp>
        <p:nvGrpSpPr>
          <p:cNvPr id="3" name="Gruppieren 2">
            <a:extLst>
              <a:ext uri="{FF2B5EF4-FFF2-40B4-BE49-F238E27FC236}">
                <a16:creationId xmlns:a16="http://schemas.microsoft.com/office/drawing/2014/main" id="{B8B47599-DFE5-3FC9-E4D3-F03D19132849}"/>
              </a:ext>
            </a:extLst>
          </p:cNvPr>
          <p:cNvGrpSpPr/>
          <p:nvPr/>
        </p:nvGrpSpPr>
        <p:grpSpPr>
          <a:xfrm>
            <a:off x="107788" y="274288"/>
            <a:ext cx="8928424" cy="927211"/>
            <a:chOff x="0" y="0"/>
            <a:chExt cx="5818764" cy="733300"/>
          </a:xfrm>
        </p:grpSpPr>
        <p:sp>
          <p:nvSpPr>
            <p:cNvPr id="10" name="Gefaltete Ecke 8">
              <a:extLst>
                <a:ext uri="{FF2B5EF4-FFF2-40B4-BE49-F238E27FC236}">
                  <a16:creationId xmlns:a16="http://schemas.microsoft.com/office/drawing/2014/main" id="{006595EB-B4C1-021C-7953-839033FEA07D}"/>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2" name="Textfeld 1">
              <a:extLst>
                <a:ext uri="{FF2B5EF4-FFF2-40B4-BE49-F238E27FC236}">
                  <a16:creationId xmlns:a16="http://schemas.microsoft.com/office/drawing/2014/main" id="{43D89339-43BA-C3B6-B5AB-5FB2FB7BADD7}"/>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4" name="Picture 3">
            <a:extLst>
              <a:ext uri="{FF2B5EF4-FFF2-40B4-BE49-F238E27FC236}">
                <a16:creationId xmlns:a16="http://schemas.microsoft.com/office/drawing/2014/main" id="{58E0BB2A-C5D6-5A46-F959-96A0FE357CC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5" name="Abgerundete rechteckige Legende 27">
            <a:extLst>
              <a:ext uri="{FF2B5EF4-FFF2-40B4-BE49-F238E27FC236}">
                <a16:creationId xmlns:a16="http://schemas.microsoft.com/office/drawing/2014/main" id="{0E661D4D-14F6-22C9-C0F6-0CE7158A2F29}"/>
              </a:ext>
            </a:extLst>
          </p:cNvPr>
          <p:cNvSpPr/>
          <p:nvPr/>
        </p:nvSpPr>
        <p:spPr bwMode="auto">
          <a:xfrm>
            <a:off x="4057746" y="4526001"/>
            <a:ext cx="2203330" cy="380156"/>
          </a:xfrm>
          <a:prstGeom prst="wedgeRoundRectCallout">
            <a:avLst>
              <a:gd name="adj1" fmla="val -23006"/>
              <a:gd name="adj2" fmla="val 4480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050" i="1" kern="0" dirty="0">
                <a:latin typeface="Calibri" panose="020F0502020204030204" pitchFamily="34" charset="0"/>
                <a:cs typeface="Calibri" panose="020F0502020204030204" pitchFamily="34" charset="0"/>
              </a:rPr>
              <a:t>Ich kann Zahlen ordnen und vergleichen. </a:t>
            </a:r>
          </a:p>
        </p:txBody>
      </p:sp>
      <p:sp>
        <p:nvSpPr>
          <p:cNvPr id="6" name="Rechteck 5">
            <a:extLst>
              <a:ext uri="{FF2B5EF4-FFF2-40B4-BE49-F238E27FC236}">
                <a16:creationId xmlns:a16="http://schemas.microsoft.com/office/drawing/2014/main" id="{3C7C3CF7-F76D-226C-78C7-9A22E810FE43}"/>
              </a:ext>
            </a:extLst>
          </p:cNvPr>
          <p:cNvSpPr/>
          <p:nvPr/>
        </p:nvSpPr>
        <p:spPr bwMode="auto">
          <a:xfrm rot="853524">
            <a:off x="7661916" y="1674621"/>
            <a:ext cx="1292193" cy="534158"/>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 &amp;</a:t>
            </a:r>
            <a:endParaRPr lang="de-DE" sz="1600" b="1" dirty="0">
              <a:solidFill>
                <a:schemeClr val="bg1"/>
              </a:solidFill>
              <a:latin typeface="+mn-lt"/>
              <a:cs typeface="Calibri Light" panose="020F03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r>
              <a:rPr lang="de-DE" sz="1600" b="1" dirty="0">
                <a:solidFill>
                  <a:schemeClr val="bg1"/>
                </a:solidFill>
                <a:latin typeface="+mn-lt"/>
                <a:cs typeface="Calibri Light" panose="020F0302020204030204" pitchFamily="34" charset="0"/>
              </a:rPr>
              <a:t>Aus</a:t>
            </a:r>
            <a:r>
              <a:rPr kumimoji="0" lang="de-DE" sz="1600" b="1" u="none" strike="noStrike" cap="none" normalizeH="0" baseline="0" dirty="0">
                <a:ln>
                  <a:noFill/>
                </a:ln>
                <a:solidFill>
                  <a:schemeClr val="bg1"/>
                </a:solidFill>
                <a:effectLst/>
                <a:latin typeface="+mn-lt"/>
                <a:cs typeface="Calibri Light" panose="020F0302020204030204" pitchFamily="34" charset="0"/>
              </a:rPr>
              <a:t>blick</a:t>
            </a:r>
          </a:p>
        </p:txBody>
      </p:sp>
    </p:spTree>
    <p:extLst>
      <p:ext uri="{BB962C8B-B14F-4D97-AF65-F5344CB8AC3E}">
        <p14:creationId xmlns:p14="http://schemas.microsoft.com/office/powerpoint/2010/main" val="11019795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3" grpId="0" animBg="1"/>
      <p:bldP spid="24" grpId="0" animBg="1"/>
      <p:bldP spid="25" grpId="0" animBg="1"/>
      <p:bldP spid="26" grpId="0" animBg="1"/>
      <p:bldP spid="27" grpId="0" animBg="1"/>
      <p:bldP spid="29" grpId="0" animBg="1"/>
      <p:bldP spid="30" grpId="0" animBg="1"/>
      <p:bldP spid="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308C1ACF-4653-AD9D-E4D1-41DDAB2B1061}"/>
              </a:ext>
            </a:extLst>
          </p:cNvPr>
          <p:cNvPicPr>
            <a:picLocks noChangeAspect="1"/>
          </p:cNvPicPr>
          <p:nvPr/>
        </p:nvPicPr>
        <p:blipFill>
          <a:blip r:embed="rId3"/>
          <a:stretch>
            <a:fillRect/>
          </a:stretch>
        </p:blipFill>
        <p:spPr>
          <a:xfrm>
            <a:off x="1394492" y="4247575"/>
            <a:ext cx="6498385" cy="2517016"/>
          </a:xfrm>
          <a:prstGeom prst="rect">
            <a:avLst/>
          </a:prstGeom>
        </p:spPr>
      </p:pic>
      <p:sp>
        <p:nvSpPr>
          <p:cNvPr id="4" name="Rechteck 3">
            <a:extLst>
              <a:ext uri="{FF2B5EF4-FFF2-40B4-BE49-F238E27FC236}">
                <a16:creationId xmlns:a16="http://schemas.microsoft.com/office/drawing/2014/main" id="{E8BF40C9-0760-282D-2505-74765096D454}"/>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a:t>
            </a:r>
            <a:r>
              <a:rPr lang="de-DE" sz="180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Reflexion</a:t>
            </a:r>
          </a:p>
        </p:txBody>
      </p:sp>
      <p:sp>
        <p:nvSpPr>
          <p:cNvPr id="22" name="Textfeld 21">
            <a:extLst>
              <a:ext uri="{FF2B5EF4-FFF2-40B4-BE49-F238E27FC236}">
                <a16:creationId xmlns:a16="http://schemas.microsoft.com/office/drawing/2014/main" id="{1C8704F8-EE9A-FFE6-EFD6-FB5721E73E5C}"/>
              </a:ext>
            </a:extLst>
          </p:cNvPr>
          <p:cNvSpPr txBox="1"/>
          <p:nvPr/>
        </p:nvSpPr>
        <p:spPr>
          <a:xfrm>
            <a:off x="5839691" y="6408544"/>
            <a:ext cx="3522518" cy="504000"/>
          </a:xfrm>
          <a:prstGeom prst="rect">
            <a:avLst/>
          </a:prstGeom>
          <a:solidFill>
            <a:schemeClr val="bg1"/>
          </a:solidFill>
        </p:spPr>
        <p:txBody>
          <a:bodyPr wrap="square" rtlCol="0">
            <a:spAutoFit/>
          </a:bodyPr>
          <a:lstStyle/>
          <a:p>
            <a:pPr marL="342900" indent="-342900">
              <a:spcBef>
                <a:spcPts val="400"/>
              </a:spcBef>
            </a:pPr>
            <a:r>
              <a:rPr lang="de-DE" sz="1400" dirty="0">
                <a:solidFill>
                  <a:schemeClr val="accent3"/>
                </a:solidFill>
                <a:latin typeface="Calibri"/>
                <a:cs typeface="Calibri"/>
              </a:rPr>
              <a:t>https://</a:t>
            </a:r>
            <a:r>
              <a:rPr lang="de-DE" sz="1400" dirty="0" err="1">
                <a:solidFill>
                  <a:schemeClr val="accent3"/>
                </a:solidFill>
                <a:latin typeface="Calibri"/>
                <a:cs typeface="Calibri"/>
              </a:rPr>
              <a:t>pikas.dzlm.de</a:t>
            </a:r>
            <a:r>
              <a:rPr lang="de-DE" sz="1400" dirty="0">
                <a:solidFill>
                  <a:schemeClr val="accent3"/>
                </a:solidFill>
                <a:latin typeface="Calibri"/>
                <a:cs typeface="Calibri"/>
              </a:rPr>
              <a:t>/</a:t>
            </a:r>
            <a:r>
              <a:rPr lang="de-DE" sz="1400" dirty="0" err="1">
                <a:solidFill>
                  <a:schemeClr val="accent3"/>
                </a:solidFill>
                <a:latin typeface="Calibri"/>
                <a:cs typeface="Calibri"/>
              </a:rPr>
              <a:t>node</a:t>
            </a:r>
            <a:r>
              <a:rPr lang="de-DE" sz="1400" dirty="0">
                <a:solidFill>
                  <a:schemeClr val="accent3"/>
                </a:solidFill>
                <a:latin typeface="Calibri"/>
                <a:cs typeface="Calibri"/>
              </a:rPr>
              <a:t>/1908</a:t>
            </a:r>
          </a:p>
        </p:txBody>
      </p:sp>
      <p:pic>
        <p:nvPicPr>
          <p:cNvPr id="21" name="Grafik 20" descr="Internet mit einfarbiger Füllung">
            <a:extLst>
              <a:ext uri="{FF2B5EF4-FFF2-40B4-BE49-F238E27FC236}">
                <a16:creationId xmlns:a16="http://schemas.microsoft.com/office/drawing/2014/main" id="{74CAD84E-08C9-AB2A-7119-F906648A3B0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306947" y="6149103"/>
            <a:ext cx="826662" cy="826662"/>
          </a:xfrm>
          <a:prstGeom prst="rect">
            <a:avLst/>
          </a:prstGeom>
        </p:spPr>
      </p:pic>
      <p:grpSp>
        <p:nvGrpSpPr>
          <p:cNvPr id="3" name="Gruppieren 2">
            <a:extLst>
              <a:ext uri="{FF2B5EF4-FFF2-40B4-BE49-F238E27FC236}">
                <a16:creationId xmlns:a16="http://schemas.microsoft.com/office/drawing/2014/main" id="{F1BC7D87-9333-FF0A-88E4-3D2A7FF3995E}"/>
              </a:ext>
            </a:extLst>
          </p:cNvPr>
          <p:cNvGrpSpPr/>
          <p:nvPr/>
        </p:nvGrpSpPr>
        <p:grpSpPr>
          <a:xfrm>
            <a:off x="107788" y="274288"/>
            <a:ext cx="8928424" cy="927211"/>
            <a:chOff x="0" y="0"/>
            <a:chExt cx="5818764" cy="733300"/>
          </a:xfrm>
        </p:grpSpPr>
        <p:sp>
          <p:nvSpPr>
            <p:cNvPr id="8" name="Gefaltete Ecke 8">
              <a:extLst>
                <a:ext uri="{FF2B5EF4-FFF2-40B4-BE49-F238E27FC236}">
                  <a16:creationId xmlns:a16="http://schemas.microsoft.com/office/drawing/2014/main" id="{3FB876DC-B73B-914C-E215-731B73B4219E}"/>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9" name="Textfeld 1">
              <a:extLst>
                <a:ext uri="{FF2B5EF4-FFF2-40B4-BE49-F238E27FC236}">
                  <a16:creationId xmlns:a16="http://schemas.microsoft.com/office/drawing/2014/main" id="{FC141650-1049-987F-0885-A4FBA9FA4582}"/>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0" name="Picture 3">
            <a:extLst>
              <a:ext uri="{FF2B5EF4-FFF2-40B4-BE49-F238E27FC236}">
                <a16:creationId xmlns:a16="http://schemas.microsoft.com/office/drawing/2014/main" id="{654F1269-4F6A-78ED-0E03-F6DC07C0D6C7}"/>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pic>
        <p:nvPicPr>
          <p:cNvPr id="5" name="Grafik 4">
            <a:extLst>
              <a:ext uri="{FF2B5EF4-FFF2-40B4-BE49-F238E27FC236}">
                <a16:creationId xmlns:a16="http://schemas.microsoft.com/office/drawing/2014/main" id="{08A7A9D1-3A3F-BBD9-35D1-E631DED02BBC}"/>
              </a:ext>
            </a:extLst>
          </p:cNvPr>
          <p:cNvPicPr>
            <a:picLocks noChangeAspect="1"/>
          </p:cNvPicPr>
          <p:nvPr/>
        </p:nvPicPr>
        <p:blipFill>
          <a:blip r:embed="rId7"/>
          <a:stretch>
            <a:fillRect/>
          </a:stretch>
        </p:blipFill>
        <p:spPr>
          <a:xfrm>
            <a:off x="1226408" y="1254993"/>
            <a:ext cx="6691184" cy="3019396"/>
          </a:xfrm>
          <a:prstGeom prst="rect">
            <a:avLst/>
          </a:prstGeom>
        </p:spPr>
      </p:pic>
    </p:spTree>
    <p:extLst>
      <p:ext uri="{BB962C8B-B14F-4D97-AF65-F5344CB8AC3E}">
        <p14:creationId xmlns:p14="http://schemas.microsoft.com/office/powerpoint/2010/main" val="4535642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E8BF40C9-0760-282D-2505-74765096D454}"/>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a:t>
            </a:r>
            <a:r>
              <a:rPr lang="de-DE" sz="1800">
                <a:solidFill>
                  <a:schemeClr val="bg1"/>
                </a:solidFill>
                <a:latin typeface="Calibri Light" panose="020F0302020204030204" pitchFamily="34" charset="0"/>
                <a:cs typeface="Calibri Light" panose="020F0302020204030204" pitchFamily="34" charset="0"/>
              </a:rPr>
              <a:t>3</a:t>
            </a: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 Reflexion</a:t>
            </a:r>
          </a:p>
        </p:txBody>
      </p:sp>
      <p:grpSp>
        <p:nvGrpSpPr>
          <p:cNvPr id="3" name="Gruppieren 2">
            <a:extLst>
              <a:ext uri="{FF2B5EF4-FFF2-40B4-BE49-F238E27FC236}">
                <a16:creationId xmlns:a16="http://schemas.microsoft.com/office/drawing/2014/main" id="{F1BC7D87-9333-FF0A-88E4-3D2A7FF3995E}"/>
              </a:ext>
            </a:extLst>
          </p:cNvPr>
          <p:cNvGrpSpPr/>
          <p:nvPr/>
        </p:nvGrpSpPr>
        <p:grpSpPr>
          <a:xfrm>
            <a:off x="107788" y="274288"/>
            <a:ext cx="8928424" cy="927211"/>
            <a:chOff x="0" y="0"/>
            <a:chExt cx="5818764" cy="733300"/>
          </a:xfrm>
        </p:grpSpPr>
        <p:sp>
          <p:nvSpPr>
            <p:cNvPr id="8" name="Gefaltete Ecke 8">
              <a:extLst>
                <a:ext uri="{FF2B5EF4-FFF2-40B4-BE49-F238E27FC236}">
                  <a16:creationId xmlns:a16="http://schemas.microsoft.com/office/drawing/2014/main" id="{3FB876DC-B73B-914C-E215-731B73B4219E}"/>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9" name="Textfeld 1">
              <a:extLst>
                <a:ext uri="{FF2B5EF4-FFF2-40B4-BE49-F238E27FC236}">
                  <a16:creationId xmlns:a16="http://schemas.microsoft.com/office/drawing/2014/main" id="{FC141650-1049-987F-0885-A4FBA9FA4582}"/>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0" name="Picture 3">
            <a:extLst>
              <a:ext uri="{FF2B5EF4-FFF2-40B4-BE49-F238E27FC236}">
                <a16:creationId xmlns:a16="http://schemas.microsoft.com/office/drawing/2014/main" id="{654F1269-4F6A-78ED-0E03-F6DC07C0D6C7}"/>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grpSp>
        <p:nvGrpSpPr>
          <p:cNvPr id="2" name="Gruppieren 1">
            <a:extLst>
              <a:ext uri="{FF2B5EF4-FFF2-40B4-BE49-F238E27FC236}">
                <a16:creationId xmlns:a16="http://schemas.microsoft.com/office/drawing/2014/main" id="{6E2B381A-A709-CD53-FFC5-38FB2DB71F7D}"/>
              </a:ext>
            </a:extLst>
          </p:cNvPr>
          <p:cNvGrpSpPr/>
          <p:nvPr/>
        </p:nvGrpSpPr>
        <p:grpSpPr>
          <a:xfrm>
            <a:off x="179951" y="1575729"/>
            <a:ext cx="8607310" cy="508567"/>
            <a:chOff x="0" y="1396089"/>
            <a:chExt cx="9160329" cy="734787"/>
          </a:xfrm>
          <a:solidFill>
            <a:schemeClr val="tx2"/>
          </a:solidFill>
        </p:grpSpPr>
        <p:sp>
          <p:nvSpPr>
            <p:cNvPr id="6" name="Freihandform 5">
              <a:extLst>
                <a:ext uri="{FF2B5EF4-FFF2-40B4-BE49-F238E27FC236}">
                  <a16:creationId xmlns:a16="http://schemas.microsoft.com/office/drawing/2014/main" id="{254667C9-B49D-3ABF-4A95-2098862E6055}"/>
                </a:ext>
              </a:extLst>
            </p:cNvPr>
            <p:cNvSpPr/>
            <p:nvPr/>
          </p:nvSpPr>
          <p:spPr>
            <a:xfrm>
              <a:off x="8352063" y="1396089"/>
              <a:ext cx="808266" cy="734785"/>
            </a:xfrm>
            <a:custGeom>
              <a:avLst/>
              <a:gdLst>
                <a:gd name="connsiteX0" fmla="*/ 0 w 808266"/>
                <a:gd name="connsiteY0" fmla="*/ 0 h 734785"/>
                <a:gd name="connsiteX1" fmla="*/ 808266 w 808266"/>
                <a:gd name="connsiteY1" fmla="*/ 0 h 734785"/>
                <a:gd name="connsiteX2" fmla="*/ 808266 w 808266"/>
                <a:gd name="connsiteY2" fmla="*/ 734785 h 734785"/>
                <a:gd name="connsiteX3" fmla="*/ 0 w 808266"/>
                <a:gd name="connsiteY3" fmla="*/ 734785 h 734785"/>
              </a:gdLst>
              <a:ahLst/>
              <a:cxnLst>
                <a:cxn ang="0">
                  <a:pos x="connsiteX0" y="connsiteY0"/>
                </a:cxn>
                <a:cxn ang="0">
                  <a:pos x="connsiteX1" y="connsiteY1"/>
                </a:cxn>
                <a:cxn ang="0">
                  <a:pos x="connsiteX2" y="connsiteY2"/>
                </a:cxn>
                <a:cxn ang="0">
                  <a:pos x="connsiteX3" y="connsiteY3"/>
                </a:cxn>
              </a:cxnLst>
              <a:rect l="l" t="t" r="r" b="b"/>
              <a:pathLst>
                <a:path w="808266" h="734785">
                  <a:moveTo>
                    <a:pt x="0" y="0"/>
                  </a:moveTo>
                  <a:lnTo>
                    <a:pt x="808266" y="0"/>
                  </a:lnTo>
                  <a:lnTo>
                    <a:pt x="808266" y="734785"/>
                  </a:lnTo>
                  <a:lnTo>
                    <a:pt x="0" y="734785"/>
                  </a:lnTo>
                  <a:close/>
                </a:path>
              </a:pathLst>
            </a:custGeom>
            <a:grp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a:p>
          </p:txBody>
        </p:sp>
        <p:sp>
          <p:nvSpPr>
            <p:cNvPr id="7" name="Richtungspfeil 6">
              <a:extLst>
                <a:ext uri="{FF2B5EF4-FFF2-40B4-BE49-F238E27FC236}">
                  <a16:creationId xmlns:a16="http://schemas.microsoft.com/office/drawing/2014/main" id="{63AE44AF-D870-96FC-15C0-1620B20C18C2}"/>
                </a:ext>
              </a:extLst>
            </p:cNvPr>
            <p:cNvSpPr/>
            <p:nvPr/>
          </p:nvSpPr>
          <p:spPr>
            <a:xfrm>
              <a:off x="6354534" y="1396090"/>
              <a:ext cx="2381250" cy="734785"/>
            </a:xfrm>
            <a:prstGeom prst="homePlate">
              <a:avLst/>
            </a:prstGeom>
            <a:grp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1" name="Richtungspfeil 10">
              <a:extLst>
                <a:ext uri="{FF2B5EF4-FFF2-40B4-BE49-F238E27FC236}">
                  <a16:creationId xmlns:a16="http://schemas.microsoft.com/office/drawing/2014/main" id="{03431EC7-1723-86AD-E17E-C41C64B3B9E9}"/>
                </a:ext>
              </a:extLst>
            </p:cNvPr>
            <p:cNvSpPr/>
            <p:nvPr/>
          </p:nvSpPr>
          <p:spPr>
            <a:xfrm>
              <a:off x="4357005" y="1396090"/>
              <a:ext cx="2381250" cy="734785"/>
            </a:xfrm>
            <a:prstGeom prst="homePlate">
              <a:avLst/>
            </a:prstGeom>
            <a:grp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3" name="Richtungspfeil 12">
              <a:extLst>
                <a:ext uri="{FF2B5EF4-FFF2-40B4-BE49-F238E27FC236}">
                  <a16:creationId xmlns:a16="http://schemas.microsoft.com/office/drawing/2014/main" id="{45457715-4C3C-1C46-6C1A-10C6BB73CAD1}"/>
                </a:ext>
              </a:extLst>
            </p:cNvPr>
            <p:cNvSpPr/>
            <p:nvPr/>
          </p:nvSpPr>
          <p:spPr>
            <a:xfrm>
              <a:off x="2359476" y="1396091"/>
              <a:ext cx="2381250" cy="734785"/>
            </a:xfrm>
            <a:prstGeom prst="homePlate">
              <a:avLst/>
            </a:prstGeom>
            <a:grp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4" name="Richtungspfeil 13">
              <a:extLst>
                <a:ext uri="{FF2B5EF4-FFF2-40B4-BE49-F238E27FC236}">
                  <a16:creationId xmlns:a16="http://schemas.microsoft.com/office/drawing/2014/main" id="{E597E357-9FCC-6C03-3F0D-3B32E889F9CC}"/>
                </a:ext>
              </a:extLst>
            </p:cNvPr>
            <p:cNvSpPr/>
            <p:nvPr/>
          </p:nvSpPr>
          <p:spPr>
            <a:xfrm>
              <a:off x="385081" y="1396089"/>
              <a:ext cx="2381250" cy="734785"/>
            </a:xfrm>
            <a:prstGeom prst="homePlate">
              <a:avLst/>
            </a:prstGeom>
            <a:grp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15" name="Freihandform 14">
              <a:extLst>
                <a:ext uri="{FF2B5EF4-FFF2-40B4-BE49-F238E27FC236}">
                  <a16:creationId xmlns:a16="http://schemas.microsoft.com/office/drawing/2014/main" id="{A4D9AB6D-F0AB-7E88-80E2-73172E07D4EF}"/>
                </a:ext>
              </a:extLst>
            </p:cNvPr>
            <p:cNvSpPr/>
            <p:nvPr/>
          </p:nvSpPr>
          <p:spPr>
            <a:xfrm>
              <a:off x="0" y="1396089"/>
              <a:ext cx="791936" cy="734785"/>
            </a:xfrm>
            <a:custGeom>
              <a:avLst/>
              <a:gdLst>
                <a:gd name="connsiteX0" fmla="*/ 0 w 791936"/>
                <a:gd name="connsiteY0" fmla="*/ 0 h 734785"/>
                <a:gd name="connsiteX1" fmla="*/ 424544 w 791936"/>
                <a:gd name="connsiteY1" fmla="*/ 0 h 734785"/>
                <a:gd name="connsiteX2" fmla="*/ 791936 w 791936"/>
                <a:gd name="connsiteY2" fmla="*/ 367393 h 734785"/>
                <a:gd name="connsiteX3" fmla="*/ 424544 w 791936"/>
                <a:gd name="connsiteY3" fmla="*/ 734785 h 734785"/>
                <a:gd name="connsiteX4" fmla="*/ 0 w 791936"/>
                <a:gd name="connsiteY4" fmla="*/ 734785 h 73478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91936" h="734785">
                  <a:moveTo>
                    <a:pt x="0" y="0"/>
                  </a:moveTo>
                  <a:lnTo>
                    <a:pt x="424544" y="0"/>
                  </a:lnTo>
                  <a:lnTo>
                    <a:pt x="791936" y="367393"/>
                  </a:lnTo>
                  <a:lnTo>
                    <a:pt x="424544" y="734785"/>
                  </a:lnTo>
                  <a:lnTo>
                    <a:pt x="0" y="734785"/>
                  </a:lnTo>
                  <a:close/>
                </a:path>
              </a:pathLst>
            </a:custGeom>
            <a:grpFill/>
            <a:ln w="7620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sz="1600"/>
            </a:p>
          </p:txBody>
        </p:sp>
        <p:sp>
          <p:nvSpPr>
            <p:cNvPr id="16" name="Textfeld 15">
              <a:extLst>
                <a:ext uri="{FF2B5EF4-FFF2-40B4-BE49-F238E27FC236}">
                  <a16:creationId xmlns:a16="http://schemas.microsoft.com/office/drawing/2014/main" id="{7E94F188-9CB6-8533-6D25-AA412A28E21A}"/>
                </a:ext>
              </a:extLst>
            </p:cNvPr>
            <p:cNvSpPr txBox="1"/>
            <p:nvPr/>
          </p:nvSpPr>
          <p:spPr>
            <a:xfrm>
              <a:off x="985154" y="1583871"/>
              <a:ext cx="1374322" cy="444682"/>
            </a:xfrm>
            <a:prstGeom prst="rect">
              <a:avLst/>
            </a:prstGeom>
            <a:grpFill/>
          </p:spPr>
          <p:txBody>
            <a:bodyPr wrap="square" rtlCol="0">
              <a:spAutoFit/>
            </a:bodyPr>
            <a:lstStyle/>
            <a:p>
              <a:r>
                <a:rPr lang="de-DE" sz="1400" dirty="0">
                  <a:solidFill>
                    <a:schemeClr val="bg1"/>
                  </a:solidFill>
                  <a:latin typeface="+mn-lt"/>
                </a:rPr>
                <a:t>Klasse 1</a:t>
              </a:r>
            </a:p>
          </p:txBody>
        </p:sp>
        <p:sp>
          <p:nvSpPr>
            <p:cNvPr id="17" name="Textfeld 16">
              <a:extLst>
                <a:ext uri="{FF2B5EF4-FFF2-40B4-BE49-F238E27FC236}">
                  <a16:creationId xmlns:a16="http://schemas.microsoft.com/office/drawing/2014/main" id="{3D5DFDF4-F4EB-B77E-F8CA-8A7D11BF4EE8}"/>
                </a:ext>
              </a:extLst>
            </p:cNvPr>
            <p:cNvSpPr txBox="1"/>
            <p:nvPr/>
          </p:nvSpPr>
          <p:spPr>
            <a:xfrm>
              <a:off x="2959549" y="1583871"/>
              <a:ext cx="1374322" cy="444682"/>
            </a:xfrm>
            <a:prstGeom prst="rect">
              <a:avLst/>
            </a:prstGeom>
            <a:grpFill/>
          </p:spPr>
          <p:txBody>
            <a:bodyPr wrap="square" rtlCol="0">
              <a:spAutoFit/>
            </a:bodyPr>
            <a:lstStyle/>
            <a:p>
              <a:r>
                <a:rPr lang="de-DE" sz="1400" dirty="0">
                  <a:solidFill>
                    <a:schemeClr val="bg1"/>
                  </a:solidFill>
                  <a:latin typeface="+mn-lt"/>
                </a:rPr>
                <a:t>Klasse 2</a:t>
              </a:r>
            </a:p>
          </p:txBody>
        </p:sp>
        <p:sp>
          <p:nvSpPr>
            <p:cNvPr id="18" name="Textfeld 17">
              <a:extLst>
                <a:ext uri="{FF2B5EF4-FFF2-40B4-BE49-F238E27FC236}">
                  <a16:creationId xmlns:a16="http://schemas.microsoft.com/office/drawing/2014/main" id="{E72F5EF6-CD11-3458-1DD5-D94AA59198F9}"/>
                </a:ext>
              </a:extLst>
            </p:cNvPr>
            <p:cNvSpPr txBox="1"/>
            <p:nvPr/>
          </p:nvSpPr>
          <p:spPr>
            <a:xfrm>
              <a:off x="4978853" y="1583871"/>
              <a:ext cx="1374322" cy="444682"/>
            </a:xfrm>
            <a:prstGeom prst="rect">
              <a:avLst/>
            </a:prstGeom>
            <a:grpFill/>
          </p:spPr>
          <p:txBody>
            <a:bodyPr wrap="square" rtlCol="0">
              <a:spAutoFit/>
            </a:bodyPr>
            <a:lstStyle/>
            <a:p>
              <a:r>
                <a:rPr lang="de-DE" sz="1400" dirty="0">
                  <a:solidFill>
                    <a:schemeClr val="bg1"/>
                  </a:solidFill>
                  <a:latin typeface="+mn-lt"/>
                </a:rPr>
                <a:t>Klasse 3</a:t>
              </a:r>
            </a:p>
          </p:txBody>
        </p:sp>
        <p:sp>
          <p:nvSpPr>
            <p:cNvPr id="19" name="Textfeld 18">
              <a:extLst>
                <a:ext uri="{FF2B5EF4-FFF2-40B4-BE49-F238E27FC236}">
                  <a16:creationId xmlns:a16="http://schemas.microsoft.com/office/drawing/2014/main" id="{1EE0A0CF-07D5-A857-4ACB-9D2A6EFF405B}"/>
                </a:ext>
              </a:extLst>
            </p:cNvPr>
            <p:cNvSpPr txBox="1"/>
            <p:nvPr/>
          </p:nvSpPr>
          <p:spPr>
            <a:xfrm>
              <a:off x="6954607" y="1583871"/>
              <a:ext cx="1374322" cy="444682"/>
            </a:xfrm>
            <a:prstGeom prst="rect">
              <a:avLst/>
            </a:prstGeom>
            <a:grpFill/>
          </p:spPr>
          <p:txBody>
            <a:bodyPr wrap="square" rtlCol="0">
              <a:spAutoFit/>
            </a:bodyPr>
            <a:lstStyle/>
            <a:p>
              <a:r>
                <a:rPr lang="de-DE" sz="1400" dirty="0">
                  <a:solidFill>
                    <a:schemeClr val="bg1"/>
                  </a:solidFill>
                  <a:latin typeface="+mn-lt"/>
                </a:rPr>
                <a:t>Klasse 4</a:t>
              </a:r>
            </a:p>
          </p:txBody>
        </p:sp>
      </p:grpSp>
      <p:grpSp>
        <p:nvGrpSpPr>
          <p:cNvPr id="20" name="Gruppieren 19">
            <a:extLst>
              <a:ext uri="{FF2B5EF4-FFF2-40B4-BE49-F238E27FC236}">
                <a16:creationId xmlns:a16="http://schemas.microsoft.com/office/drawing/2014/main" id="{7A14597A-C9F8-BE14-B830-13033DF0123A}"/>
              </a:ext>
            </a:extLst>
          </p:cNvPr>
          <p:cNvGrpSpPr/>
          <p:nvPr/>
        </p:nvGrpSpPr>
        <p:grpSpPr>
          <a:xfrm>
            <a:off x="2782142" y="2159661"/>
            <a:ext cx="1564139" cy="1423988"/>
            <a:chOff x="397565" y="3210306"/>
            <a:chExt cx="1279666" cy="1579078"/>
          </a:xfrm>
          <a:solidFill>
            <a:schemeClr val="accent4">
              <a:lumMod val="40000"/>
              <a:lumOff val="60000"/>
            </a:schemeClr>
          </a:solidFill>
          <a:effectLst>
            <a:outerShdw blurRad="50800" dist="38100" dir="2700000" algn="tl" rotWithShape="0">
              <a:prstClr val="black">
                <a:alpha val="40000"/>
              </a:prstClr>
            </a:outerShdw>
          </a:effectLst>
        </p:grpSpPr>
        <p:sp>
          <p:nvSpPr>
            <p:cNvPr id="23" name="Gefaltete Ecke 22">
              <a:extLst>
                <a:ext uri="{FF2B5EF4-FFF2-40B4-BE49-F238E27FC236}">
                  <a16:creationId xmlns:a16="http://schemas.microsoft.com/office/drawing/2014/main" id="{B0D31899-846D-B1CF-AD60-4C1A5AD09F44}"/>
                </a:ext>
              </a:extLst>
            </p:cNvPr>
            <p:cNvSpPr/>
            <p:nvPr/>
          </p:nvSpPr>
          <p:spPr>
            <a:xfrm>
              <a:off x="397565" y="3210306"/>
              <a:ext cx="1279666" cy="1579078"/>
            </a:xfrm>
            <a:prstGeom prst="foldedCorner">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24" name="Textfeld 23">
              <a:extLst>
                <a:ext uri="{FF2B5EF4-FFF2-40B4-BE49-F238E27FC236}">
                  <a16:creationId xmlns:a16="http://schemas.microsoft.com/office/drawing/2014/main" id="{2A7E50C2-AE06-432A-F79F-34BD7A6EDAD6}"/>
                </a:ext>
              </a:extLst>
            </p:cNvPr>
            <p:cNvSpPr txBox="1"/>
            <p:nvPr/>
          </p:nvSpPr>
          <p:spPr>
            <a:xfrm>
              <a:off x="439598" y="3282346"/>
              <a:ext cx="1195599" cy="1296930"/>
            </a:xfrm>
            <a:prstGeom prst="rect">
              <a:avLst/>
            </a:prstGeom>
            <a:grpFill/>
          </p:spPr>
          <p:txBody>
            <a:bodyPr wrap="square" rtlCol="0">
              <a:spAutoFit/>
            </a:bodyPr>
            <a:lstStyle/>
            <a:p>
              <a:pPr algn="ctr"/>
              <a:r>
                <a:rPr lang="de-DE" sz="1400" dirty="0">
                  <a:latin typeface="+mn-lt"/>
                </a:rPr>
                <a:t>SOB </a:t>
              </a:r>
            </a:p>
            <a:p>
              <a:pPr algn="ctr"/>
              <a:r>
                <a:rPr lang="de-DE" sz="1400" dirty="0">
                  <a:latin typeface="+mn-lt"/>
                </a:rPr>
                <a:t>Anfang </a:t>
              </a:r>
            </a:p>
            <a:p>
              <a:pPr algn="ctr"/>
              <a:r>
                <a:rPr lang="de-DE" sz="1400" dirty="0">
                  <a:latin typeface="+mn-lt"/>
                </a:rPr>
                <a:t>Kl. 2</a:t>
              </a:r>
            </a:p>
            <a:p>
              <a:pPr algn="ctr"/>
              <a:r>
                <a:rPr lang="de-DE" sz="1400" dirty="0" err="1">
                  <a:latin typeface="+mn-lt"/>
                </a:rPr>
                <a:t>Zahlverst</a:t>
              </a:r>
              <a:r>
                <a:rPr lang="de-DE" sz="1400" dirty="0">
                  <a:latin typeface="+mn-lt"/>
                </a:rPr>
                <a:t>.</a:t>
              </a:r>
            </a:p>
            <a:p>
              <a:pPr algn="ctr"/>
              <a:r>
                <a:rPr lang="de-DE" sz="1400" dirty="0">
                  <a:latin typeface="+mn-lt"/>
                </a:rPr>
                <a:t>ZR 20</a:t>
              </a:r>
            </a:p>
          </p:txBody>
        </p:sp>
      </p:grpSp>
      <p:grpSp>
        <p:nvGrpSpPr>
          <p:cNvPr id="25" name="Gruppieren 24">
            <a:extLst>
              <a:ext uri="{FF2B5EF4-FFF2-40B4-BE49-F238E27FC236}">
                <a16:creationId xmlns:a16="http://schemas.microsoft.com/office/drawing/2014/main" id="{32808192-5179-CB42-3ACA-69EE27116253}"/>
              </a:ext>
            </a:extLst>
          </p:cNvPr>
          <p:cNvGrpSpPr/>
          <p:nvPr/>
        </p:nvGrpSpPr>
        <p:grpSpPr>
          <a:xfrm>
            <a:off x="4803324" y="2168395"/>
            <a:ext cx="1564139" cy="1423988"/>
            <a:chOff x="397565" y="3222839"/>
            <a:chExt cx="1279666" cy="1579078"/>
          </a:xfrm>
          <a:solidFill>
            <a:srgbClr val="C4E5E9"/>
          </a:solidFill>
          <a:effectLst>
            <a:outerShdw blurRad="50800" dist="38100" dir="2700000" algn="tl" rotWithShape="0">
              <a:prstClr val="black">
                <a:alpha val="40000"/>
              </a:prstClr>
            </a:outerShdw>
          </a:effectLst>
        </p:grpSpPr>
        <p:sp>
          <p:nvSpPr>
            <p:cNvPr id="26" name="Gefaltete Ecke 25">
              <a:extLst>
                <a:ext uri="{FF2B5EF4-FFF2-40B4-BE49-F238E27FC236}">
                  <a16:creationId xmlns:a16="http://schemas.microsoft.com/office/drawing/2014/main" id="{DD97B891-7F70-D81A-8AA7-A2816AC57A59}"/>
                </a:ext>
              </a:extLst>
            </p:cNvPr>
            <p:cNvSpPr/>
            <p:nvPr/>
          </p:nvSpPr>
          <p:spPr>
            <a:xfrm>
              <a:off x="397565" y="3222839"/>
              <a:ext cx="1279666" cy="1579078"/>
            </a:xfrm>
            <a:prstGeom prst="foldedCorner">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27" name="Textfeld 26">
              <a:extLst>
                <a:ext uri="{FF2B5EF4-FFF2-40B4-BE49-F238E27FC236}">
                  <a16:creationId xmlns:a16="http://schemas.microsoft.com/office/drawing/2014/main" id="{156C9766-D281-BA72-8117-0445F24D27C9}"/>
                </a:ext>
              </a:extLst>
            </p:cNvPr>
            <p:cNvSpPr txBox="1"/>
            <p:nvPr/>
          </p:nvSpPr>
          <p:spPr>
            <a:xfrm>
              <a:off x="439598" y="3282345"/>
              <a:ext cx="1195599" cy="1296930"/>
            </a:xfrm>
            <a:prstGeom prst="rect">
              <a:avLst/>
            </a:prstGeom>
            <a:grpFill/>
          </p:spPr>
          <p:txBody>
            <a:bodyPr wrap="square" rtlCol="0">
              <a:spAutoFit/>
            </a:bodyPr>
            <a:lstStyle/>
            <a:p>
              <a:pPr algn="ctr"/>
              <a:r>
                <a:rPr lang="de-DE" sz="1400" dirty="0">
                  <a:latin typeface="+mn-lt"/>
                </a:rPr>
                <a:t>SOB </a:t>
              </a:r>
            </a:p>
            <a:p>
              <a:pPr algn="ctr"/>
              <a:r>
                <a:rPr lang="de-DE" sz="1400" dirty="0">
                  <a:latin typeface="+mn-lt"/>
                </a:rPr>
                <a:t>Anfang </a:t>
              </a:r>
            </a:p>
            <a:p>
              <a:pPr algn="ctr"/>
              <a:r>
                <a:rPr lang="de-DE" sz="1400" dirty="0">
                  <a:latin typeface="+mn-lt"/>
                </a:rPr>
                <a:t>Kl. 3</a:t>
              </a:r>
            </a:p>
            <a:p>
              <a:pPr algn="ctr"/>
              <a:r>
                <a:rPr lang="de-DE" sz="1400" dirty="0" err="1">
                  <a:latin typeface="+mn-lt"/>
                </a:rPr>
                <a:t>Zahlverst</a:t>
              </a:r>
              <a:r>
                <a:rPr lang="de-DE" sz="1400" dirty="0">
                  <a:latin typeface="+mn-lt"/>
                </a:rPr>
                <a:t>.</a:t>
              </a:r>
            </a:p>
            <a:p>
              <a:pPr algn="ctr"/>
              <a:r>
                <a:rPr lang="de-DE" sz="1400" dirty="0">
                  <a:latin typeface="+mn-lt"/>
                </a:rPr>
                <a:t>ZR 100</a:t>
              </a:r>
            </a:p>
          </p:txBody>
        </p:sp>
      </p:grpSp>
      <p:grpSp>
        <p:nvGrpSpPr>
          <p:cNvPr id="28" name="Gruppieren 27">
            <a:extLst>
              <a:ext uri="{FF2B5EF4-FFF2-40B4-BE49-F238E27FC236}">
                <a16:creationId xmlns:a16="http://schemas.microsoft.com/office/drawing/2014/main" id="{B78B7CBA-3B00-7C80-3064-2AD30B7971D5}"/>
              </a:ext>
            </a:extLst>
          </p:cNvPr>
          <p:cNvGrpSpPr/>
          <p:nvPr/>
        </p:nvGrpSpPr>
        <p:grpSpPr>
          <a:xfrm>
            <a:off x="6839362" y="2168395"/>
            <a:ext cx="1564139" cy="1423988"/>
            <a:chOff x="397565" y="3222839"/>
            <a:chExt cx="1279666" cy="1579078"/>
          </a:xfrm>
          <a:solidFill>
            <a:srgbClr val="FCE1BA"/>
          </a:solidFill>
          <a:effectLst>
            <a:outerShdw blurRad="50800" dist="38100" dir="2700000" algn="tl" rotWithShape="0">
              <a:prstClr val="black">
                <a:alpha val="40000"/>
              </a:prstClr>
            </a:outerShdw>
          </a:effectLst>
        </p:grpSpPr>
        <p:sp>
          <p:nvSpPr>
            <p:cNvPr id="29" name="Gefaltete Ecke 28">
              <a:extLst>
                <a:ext uri="{FF2B5EF4-FFF2-40B4-BE49-F238E27FC236}">
                  <a16:creationId xmlns:a16="http://schemas.microsoft.com/office/drawing/2014/main" id="{6B018524-3D14-007A-20FE-68125F8C8CC7}"/>
                </a:ext>
              </a:extLst>
            </p:cNvPr>
            <p:cNvSpPr/>
            <p:nvPr/>
          </p:nvSpPr>
          <p:spPr>
            <a:xfrm>
              <a:off x="397565" y="3222839"/>
              <a:ext cx="1279666" cy="1579078"/>
            </a:xfrm>
            <a:prstGeom prst="foldedCorner">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30" name="Textfeld 29">
              <a:extLst>
                <a:ext uri="{FF2B5EF4-FFF2-40B4-BE49-F238E27FC236}">
                  <a16:creationId xmlns:a16="http://schemas.microsoft.com/office/drawing/2014/main" id="{6A50C757-EEBA-BA05-DE93-A7B8F56F006A}"/>
                </a:ext>
              </a:extLst>
            </p:cNvPr>
            <p:cNvSpPr txBox="1"/>
            <p:nvPr/>
          </p:nvSpPr>
          <p:spPr>
            <a:xfrm>
              <a:off x="439598" y="3282345"/>
              <a:ext cx="1195599" cy="1296930"/>
            </a:xfrm>
            <a:prstGeom prst="rect">
              <a:avLst/>
            </a:prstGeom>
            <a:grpFill/>
          </p:spPr>
          <p:txBody>
            <a:bodyPr wrap="square" rtlCol="0">
              <a:spAutoFit/>
            </a:bodyPr>
            <a:lstStyle/>
            <a:p>
              <a:pPr algn="ctr"/>
              <a:r>
                <a:rPr lang="de-DE" sz="1400" dirty="0">
                  <a:latin typeface="+mn-lt"/>
                </a:rPr>
                <a:t>SOB </a:t>
              </a:r>
            </a:p>
            <a:p>
              <a:pPr algn="ctr"/>
              <a:r>
                <a:rPr lang="de-DE" sz="1400" dirty="0">
                  <a:latin typeface="+mn-lt"/>
                </a:rPr>
                <a:t>Anfang </a:t>
              </a:r>
            </a:p>
            <a:p>
              <a:pPr algn="ctr"/>
              <a:r>
                <a:rPr lang="de-DE" sz="1400" dirty="0">
                  <a:latin typeface="+mn-lt"/>
                </a:rPr>
                <a:t>Kl. 4</a:t>
              </a:r>
            </a:p>
            <a:p>
              <a:pPr algn="ctr"/>
              <a:r>
                <a:rPr lang="de-DE" sz="1400" dirty="0" err="1">
                  <a:latin typeface="+mn-lt"/>
                </a:rPr>
                <a:t>Zahlverst</a:t>
              </a:r>
              <a:r>
                <a:rPr lang="de-DE" sz="1400" dirty="0">
                  <a:latin typeface="+mn-lt"/>
                </a:rPr>
                <a:t>.</a:t>
              </a:r>
            </a:p>
            <a:p>
              <a:pPr algn="ctr"/>
              <a:r>
                <a:rPr lang="de-DE" sz="1400" dirty="0">
                  <a:latin typeface="+mn-lt"/>
                </a:rPr>
                <a:t>ZR 1000</a:t>
              </a:r>
            </a:p>
          </p:txBody>
        </p:sp>
      </p:grpSp>
      <p:grpSp>
        <p:nvGrpSpPr>
          <p:cNvPr id="31" name="Gruppieren 30">
            <a:extLst>
              <a:ext uri="{FF2B5EF4-FFF2-40B4-BE49-F238E27FC236}">
                <a16:creationId xmlns:a16="http://schemas.microsoft.com/office/drawing/2014/main" id="{86B61D4D-11A9-98CD-1B14-8EA937568516}"/>
              </a:ext>
            </a:extLst>
          </p:cNvPr>
          <p:cNvGrpSpPr/>
          <p:nvPr/>
        </p:nvGrpSpPr>
        <p:grpSpPr>
          <a:xfrm>
            <a:off x="2770547" y="3868699"/>
            <a:ext cx="1564139" cy="1423988"/>
            <a:chOff x="397565" y="3222839"/>
            <a:chExt cx="1279666" cy="1579078"/>
          </a:xfrm>
          <a:solidFill>
            <a:schemeClr val="bg1"/>
          </a:solidFill>
          <a:effectLst>
            <a:outerShdw blurRad="50800" dist="38100" dir="2700000" algn="tl" rotWithShape="0">
              <a:prstClr val="black">
                <a:alpha val="40000"/>
              </a:prstClr>
            </a:outerShdw>
          </a:effectLst>
        </p:grpSpPr>
        <p:sp>
          <p:nvSpPr>
            <p:cNvPr id="32" name="Gefaltete Ecke 31">
              <a:extLst>
                <a:ext uri="{FF2B5EF4-FFF2-40B4-BE49-F238E27FC236}">
                  <a16:creationId xmlns:a16="http://schemas.microsoft.com/office/drawing/2014/main" id="{A1EC4C67-A523-6F36-173F-B9A4758CCBF3}"/>
                </a:ext>
              </a:extLst>
            </p:cNvPr>
            <p:cNvSpPr/>
            <p:nvPr/>
          </p:nvSpPr>
          <p:spPr>
            <a:xfrm>
              <a:off x="397565" y="3222839"/>
              <a:ext cx="1279666" cy="1579078"/>
            </a:xfrm>
            <a:prstGeom prst="foldedCorner">
              <a:avLst/>
            </a:prstGeom>
            <a:grpFill/>
            <a:ln w="53975">
              <a:solidFill>
                <a:schemeClr val="accent4">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33" name="Textfeld 32">
              <a:extLst>
                <a:ext uri="{FF2B5EF4-FFF2-40B4-BE49-F238E27FC236}">
                  <a16:creationId xmlns:a16="http://schemas.microsoft.com/office/drawing/2014/main" id="{7C164034-4426-0D17-2F81-65B97A085400}"/>
                </a:ext>
              </a:extLst>
            </p:cNvPr>
            <p:cNvSpPr txBox="1"/>
            <p:nvPr/>
          </p:nvSpPr>
          <p:spPr>
            <a:xfrm>
              <a:off x="439598" y="3282345"/>
              <a:ext cx="1195599" cy="1296930"/>
            </a:xfrm>
            <a:prstGeom prst="rect">
              <a:avLst/>
            </a:prstGeom>
            <a:noFill/>
            <a:ln>
              <a:noFill/>
            </a:ln>
          </p:spPr>
          <p:txBody>
            <a:bodyPr wrap="square" rtlCol="0">
              <a:spAutoFit/>
            </a:bodyPr>
            <a:lstStyle/>
            <a:p>
              <a:pPr algn="ctr"/>
              <a:r>
                <a:rPr lang="de-DE" sz="1400" dirty="0">
                  <a:latin typeface="+mn-lt"/>
                </a:rPr>
                <a:t>SOB </a:t>
              </a:r>
            </a:p>
            <a:p>
              <a:pPr algn="ctr"/>
              <a:r>
                <a:rPr lang="de-DE" sz="1400" dirty="0">
                  <a:latin typeface="+mn-lt"/>
                </a:rPr>
                <a:t>mit</a:t>
              </a:r>
            </a:p>
            <a:p>
              <a:pPr algn="ctr"/>
              <a:r>
                <a:rPr lang="de-DE" sz="1400" dirty="0">
                  <a:latin typeface="+mn-lt"/>
                </a:rPr>
                <a:t>Ausblick</a:t>
              </a:r>
            </a:p>
            <a:p>
              <a:pPr algn="ctr"/>
              <a:r>
                <a:rPr lang="de-DE" sz="1400" dirty="0" err="1">
                  <a:latin typeface="+mn-lt"/>
                </a:rPr>
                <a:t>Zahlverst</a:t>
              </a:r>
              <a:r>
                <a:rPr lang="de-DE" sz="1400" dirty="0">
                  <a:latin typeface="+mn-lt"/>
                </a:rPr>
                <a:t>.</a:t>
              </a:r>
            </a:p>
            <a:p>
              <a:pPr algn="ctr"/>
              <a:r>
                <a:rPr lang="de-DE" sz="1400" dirty="0">
                  <a:latin typeface="+mn-lt"/>
                </a:rPr>
                <a:t>ZR 20/100</a:t>
              </a:r>
            </a:p>
          </p:txBody>
        </p:sp>
      </p:grpSp>
      <p:grpSp>
        <p:nvGrpSpPr>
          <p:cNvPr id="34" name="Gruppieren 33">
            <a:extLst>
              <a:ext uri="{FF2B5EF4-FFF2-40B4-BE49-F238E27FC236}">
                <a16:creationId xmlns:a16="http://schemas.microsoft.com/office/drawing/2014/main" id="{9D0AEE79-905F-92E0-4BFF-06A769D8FF31}"/>
              </a:ext>
            </a:extLst>
          </p:cNvPr>
          <p:cNvGrpSpPr/>
          <p:nvPr/>
        </p:nvGrpSpPr>
        <p:grpSpPr>
          <a:xfrm>
            <a:off x="4795288" y="3868698"/>
            <a:ext cx="1564139" cy="1438656"/>
            <a:chOff x="397565" y="3222839"/>
            <a:chExt cx="1279666" cy="1595344"/>
          </a:xfrm>
          <a:solidFill>
            <a:schemeClr val="bg1"/>
          </a:solidFill>
          <a:effectLst>
            <a:outerShdw blurRad="50800" dist="38100" dir="2700000" algn="tl" rotWithShape="0">
              <a:prstClr val="black">
                <a:alpha val="40000"/>
              </a:prstClr>
            </a:outerShdw>
          </a:effectLst>
        </p:grpSpPr>
        <p:sp>
          <p:nvSpPr>
            <p:cNvPr id="35" name="Gefaltete Ecke 34">
              <a:extLst>
                <a:ext uri="{FF2B5EF4-FFF2-40B4-BE49-F238E27FC236}">
                  <a16:creationId xmlns:a16="http://schemas.microsoft.com/office/drawing/2014/main" id="{34C6ED1D-DFD4-F66C-AAC0-A89CE1459C8C}"/>
                </a:ext>
              </a:extLst>
            </p:cNvPr>
            <p:cNvSpPr/>
            <p:nvPr/>
          </p:nvSpPr>
          <p:spPr>
            <a:xfrm>
              <a:off x="397565" y="3222839"/>
              <a:ext cx="1279666" cy="1579078"/>
            </a:xfrm>
            <a:prstGeom prst="foldedCorner">
              <a:avLst/>
            </a:prstGeom>
            <a:grpFill/>
            <a:ln w="53975">
              <a:solidFill>
                <a:srgbClr val="C4E5E9"/>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36" name="Textfeld 35">
              <a:extLst>
                <a:ext uri="{FF2B5EF4-FFF2-40B4-BE49-F238E27FC236}">
                  <a16:creationId xmlns:a16="http://schemas.microsoft.com/office/drawing/2014/main" id="{2760479B-B2A6-CE4E-ACAD-95A32FE36695}"/>
                </a:ext>
              </a:extLst>
            </p:cNvPr>
            <p:cNvSpPr txBox="1"/>
            <p:nvPr/>
          </p:nvSpPr>
          <p:spPr>
            <a:xfrm>
              <a:off x="439598" y="3282345"/>
              <a:ext cx="1195599" cy="1535838"/>
            </a:xfrm>
            <a:prstGeom prst="rect">
              <a:avLst/>
            </a:prstGeom>
            <a:noFill/>
            <a:ln>
              <a:solidFill>
                <a:srgbClr val="C4E5E9"/>
              </a:solidFill>
            </a:ln>
          </p:spPr>
          <p:txBody>
            <a:bodyPr wrap="square" rtlCol="0">
              <a:spAutoFit/>
            </a:bodyPr>
            <a:lstStyle/>
            <a:p>
              <a:pPr algn="ctr"/>
              <a:r>
                <a:rPr lang="de-DE" sz="1400" dirty="0">
                  <a:latin typeface="+mn-lt"/>
                </a:rPr>
                <a:t>SOB </a:t>
              </a:r>
            </a:p>
            <a:p>
              <a:pPr algn="ctr"/>
              <a:r>
                <a:rPr lang="de-DE" sz="1400" dirty="0">
                  <a:latin typeface="+mn-lt"/>
                </a:rPr>
                <a:t>mit</a:t>
              </a:r>
            </a:p>
            <a:p>
              <a:pPr algn="ctr"/>
              <a:r>
                <a:rPr lang="de-DE" sz="1400" dirty="0">
                  <a:latin typeface="+mn-lt"/>
                </a:rPr>
                <a:t>Ausblick</a:t>
              </a:r>
            </a:p>
            <a:p>
              <a:pPr algn="ctr"/>
              <a:r>
                <a:rPr lang="de-DE" sz="1400" dirty="0" err="1">
                  <a:latin typeface="+mn-lt"/>
                </a:rPr>
                <a:t>Zahlverst</a:t>
              </a:r>
              <a:r>
                <a:rPr lang="de-DE" sz="1400" dirty="0">
                  <a:latin typeface="+mn-lt"/>
                </a:rPr>
                <a:t>.</a:t>
              </a:r>
            </a:p>
            <a:p>
              <a:pPr algn="ctr"/>
              <a:r>
                <a:rPr lang="de-DE" sz="1400" dirty="0">
                  <a:latin typeface="+mn-lt"/>
                </a:rPr>
                <a:t>ZR 100/</a:t>
              </a:r>
            </a:p>
            <a:p>
              <a:pPr algn="ctr"/>
              <a:r>
                <a:rPr lang="de-DE" sz="1400" dirty="0">
                  <a:latin typeface="+mn-lt"/>
                </a:rPr>
                <a:t>1000</a:t>
              </a:r>
            </a:p>
          </p:txBody>
        </p:sp>
      </p:grpSp>
      <p:grpSp>
        <p:nvGrpSpPr>
          <p:cNvPr id="37" name="Gruppieren 36">
            <a:extLst>
              <a:ext uri="{FF2B5EF4-FFF2-40B4-BE49-F238E27FC236}">
                <a16:creationId xmlns:a16="http://schemas.microsoft.com/office/drawing/2014/main" id="{8E5A6A06-2861-131A-F0C6-D57085077EE2}"/>
              </a:ext>
            </a:extLst>
          </p:cNvPr>
          <p:cNvGrpSpPr/>
          <p:nvPr/>
        </p:nvGrpSpPr>
        <p:grpSpPr>
          <a:xfrm>
            <a:off x="6841737" y="3868698"/>
            <a:ext cx="1564139" cy="1438656"/>
            <a:chOff x="397565" y="3222839"/>
            <a:chExt cx="1279666" cy="1595344"/>
          </a:xfrm>
          <a:solidFill>
            <a:schemeClr val="bg1"/>
          </a:solidFill>
          <a:effectLst>
            <a:outerShdw blurRad="50800" dist="38100" dir="2700000" algn="tl" rotWithShape="0">
              <a:prstClr val="black">
                <a:alpha val="40000"/>
              </a:prstClr>
            </a:outerShdw>
          </a:effectLst>
        </p:grpSpPr>
        <p:sp>
          <p:nvSpPr>
            <p:cNvPr id="38" name="Gefaltete Ecke 37">
              <a:extLst>
                <a:ext uri="{FF2B5EF4-FFF2-40B4-BE49-F238E27FC236}">
                  <a16:creationId xmlns:a16="http://schemas.microsoft.com/office/drawing/2014/main" id="{2C32AEA8-1FDC-EF50-82EC-863C50AF3B1D}"/>
                </a:ext>
              </a:extLst>
            </p:cNvPr>
            <p:cNvSpPr/>
            <p:nvPr/>
          </p:nvSpPr>
          <p:spPr>
            <a:xfrm>
              <a:off x="397565" y="3222839"/>
              <a:ext cx="1279666" cy="1579078"/>
            </a:xfrm>
            <a:prstGeom prst="foldedCorner">
              <a:avLst/>
            </a:prstGeom>
            <a:grpFill/>
            <a:ln w="53975">
              <a:solidFill>
                <a:srgbClr val="FCE1BA"/>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39" name="Textfeld 38">
              <a:extLst>
                <a:ext uri="{FF2B5EF4-FFF2-40B4-BE49-F238E27FC236}">
                  <a16:creationId xmlns:a16="http://schemas.microsoft.com/office/drawing/2014/main" id="{36C8D6EB-F6F2-0CA8-3FC4-1AEA5D4BE2F1}"/>
                </a:ext>
              </a:extLst>
            </p:cNvPr>
            <p:cNvSpPr txBox="1"/>
            <p:nvPr/>
          </p:nvSpPr>
          <p:spPr>
            <a:xfrm>
              <a:off x="439598" y="3282345"/>
              <a:ext cx="1195599" cy="1535838"/>
            </a:xfrm>
            <a:prstGeom prst="rect">
              <a:avLst/>
            </a:prstGeom>
            <a:noFill/>
            <a:ln>
              <a:solidFill>
                <a:srgbClr val="FCE1BA"/>
              </a:solidFill>
            </a:ln>
          </p:spPr>
          <p:txBody>
            <a:bodyPr wrap="square" rtlCol="0">
              <a:spAutoFit/>
            </a:bodyPr>
            <a:lstStyle/>
            <a:p>
              <a:pPr algn="ctr"/>
              <a:r>
                <a:rPr lang="de-DE" sz="1400" dirty="0">
                  <a:latin typeface="+mn-lt"/>
                </a:rPr>
                <a:t>SOB </a:t>
              </a:r>
            </a:p>
            <a:p>
              <a:pPr algn="ctr"/>
              <a:r>
                <a:rPr lang="de-DE" sz="1400" dirty="0">
                  <a:latin typeface="+mn-lt"/>
                </a:rPr>
                <a:t>mit</a:t>
              </a:r>
            </a:p>
            <a:p>
              <a:pPr algn="ctr"/>
              <a:r>
                <a:rPr lang="de-DE" sz="1400" dirty="0">
                  <a:latin typeface="+mn-lt"/>
                </a:rPr>
                <a:t>Ausblick</a:t>
              </a:r>
            </a:p>
            <a:p>
              <a:pPr algn="ctr"/>
              <a:r>
                <a:rPr lang="de-DE" sz="1400" dirty="0" err="1">
                  <a:latin typeface="+mn-lt"/>
                </a:rPr>
                <a:t>Zahlverst</a:t>
              </a:r>
              <a:r>
                <a:rPr lang="de-DE" sz="1400" dirty="0">
                  <a:latin typeface="+mn-lt"/>
                </a:rPr>
                <a:t>.</a:t>
              </a:r>
            </a:p>
            <a:p>
              <a:pPr algn="ctr"/>
              <a:r>
                <a:rPr lang="de-DE" sz="1400" dirty="0">
                  <a:latin typeface="+mn-lt"/>
                </a:rPr>
                <a:t>ZR 100/</a:t>
              </a:r>
            </a:p>
            <a:p>
              <a:pPr algn="ctr"/>
              <a:r>
                <a:rPr lang="de-DE" sz="1400" dirty="0">
                  <a:latin typeface="+mn-lt"/>
                </a:rPr>
                <a:t>1000</a:t>
              </a:r>
            </a:p>
          </p:txBody>
        </p:sp>
      </p:grpSp>
      <p:grpSp>
        <p:nvGrpSpPr>
          <p:cNvPr id="40" name="Gruppieren 39">
            <a:extLst>
              <a:ext uri="{FF2B5EF4-FFF2-40B4-BE49-F238E27FC236}">
                <a16:creationId xmlns:a16="http://schemas.microsoft.com/office/drawing/2014/main" id="{FFDE5CEA-90D9-1DDE-CA87-C9FE26DDC2C2}"/>
              </a:ext>
            </a:extLst>
          </p:cNvPr>
          <p:cNvGrpSpPr/>
          <p:nvPr/>
        </p:nvGrpSpPr>
        <p:grpSpPr>
          <a:xfrm>
            <a:off x="118347" y="5230597"/>
            <a:ext cx="9149222" cy="465873"/>
            <a:chOff x="183909" y="5321289"/>
            <a:chExt cx="9737059" cy="673100"/>
          </a:xfrm>
        </p:grpSpPr>
        <p:sp>
          <p:nvSpPr>
            <p:cNvPr id="41" name="Richtungspfeil 40">
              <a:extLst>
                <a:ext uri="{FF2B5EF4-FFF2-40B4-BE49-F238E27FC236}">
                  <a16:creationId xmlns:a16="http://schemas.microsoft.com/office/drawing/2014/main" id="{516EFC33-06D1-BF37-B249-0408E1B5BC2A}"/>
                </a:ext>
              </a:extLst>
            </p:cNvPr>
            <p:cNvSpPr/>
            <p:nvPr/>
          </p:nvSpPr>
          <p:spPr>
            <a:xfrm>
              <a:off x="183909" y="5321289"/>
              <a:ext cx="8723338" cy="673100"/>
            </a:xfrm>
            <a:prstGeom prst="homePlate">
              <a:avLst/>
            </a:prstGeom>
            <a:solidFill>
              <a:schemeClr val="accent6">
                <a:lumMod val="40000"/>
                <a:lumOff val="60000"/>
              </a:schemeClr>
            </a:solidFill>
            <a:ln>
              <a:noFill/>
            </a:ln>
            <a:scene3d>
              <a:camera prst="orthographicFront"/>
              <a:lightRig rig="threePt" dir="t"/>
            </a:scene3d>
            <a:sp3d>
              <a:bevelT/>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42" name="Textfeld 41">
              <a:extLst>
                <a:ext uri="{FF2B5EF4-FFF2-40B4-BE49-F238E27FC236}">
                  <a16:creationId xmlns:a16="http://schemas.microsoft.com/office/drawing/2014/main" id="{25C61021-C77A-E24D-16F5-745C2E2666DF}"/>
                </a:ext>
              </a:extLst>
            </p:cNvPr>
            <p:cNvSpPr txBox="1"/>
            <p:nvPr/>
          </p:nvSpPr>
          <p:spPr>
            <a:xfrm>
              <a:off x="611868" y="5396240"/>
              <a:ext cx="9309100" cy="533617"/>
            </a:xfrm>
            <a:prstGeom prst="rect">
              <a:avLst/>
            </a:prstGeom>
            <a:noFill/>
          </p:spPr>
          <p:txBody>
            <a:bodyPr wrap="square">
              <a:spAutoFit/>
            </a:bodyPr>
            <a:lstStyle/>
            <a:p>
              <a:pPr algn="l" rtl="0">
                <a:spcBef>
                  <a:spcPts val="0"/>
                </a:spcBef>
                <a:spcAft>
                  <a:spcPts val="0"/>
                </a:spcAft>
              </a:pPr>
              <a:r>
                <a:rPr lang="de-DE" sz="1800" b="0" i="0" u="none" strike="noStrike" dirty="0">
                  <a:solidFill>
                    <a:srgbClr val="000000"/>
                  </a:solidFill>
                  <a:effectLst/>
                  <a:latin typeface="+mn-lt"/>
                </a:rPr>
                <a:t>Ausblick auf das, was sie darüber hinaus können.</a:t>
              </a:r>
            </a:p>
          </p:txBody>
        </p:sp>
      </p:grpSp>
      <p:grpSp>
        <p:nvGrpSpPr>
          <p:cNvPr id="44" name="Gruppieren 43">
            <a:extLst>
              <a:ext uri="{FF2B5EF4-FFF2-40B4-BE49-F238E27FC236}">
                <a16:creationId xmlns:a16="http://schemas.microsoft.com/office/drawing/2014/main" id="{484EA48C-4CEB-F437-FAA7-593A7C789E21}"/>
              </a:ext>
            </a:extLst>
          </p:cNvPr>
          <p:cNvGrpSpPr/>
          <p:nvPr/>
        </p:nvGrpSpPr>
        <p:grpSpPr>
          <a:xfrm>
            <a:off x="783485" y="2156560"/>
            <a:ext cx="1564139" cy="1423988"/>
            <a:chOff x="397565" y="3222839"/>
            <a:chExt cx="1279666" cy="1579078"/>
          </a:xfrm>
          <a:solidFill>
            <a:schemeClr val="tx2">
              <a:lumMod val="25000"/>
              <a:lumOff val="75000"/>
            </a:schemeClr>
          </a:solidFill>
          <a:effectLst>
            <a:outerShdw blurRad="50800" dist="38100" dir="2700000" algn="tl" rotWithShape="0">
              <a:prstClr val="black">
                <a:alpha val="40000"/>
              </a:prstClr>
            </a:outerShdw>
          </a:effectLst>
        </p:grpSpPr>
        <p:sp>
          <p:nvSpPr>
            <p:cNvPr id="48" name="Gefaltete Ecke 47">
              <a:extLst>
                <a:ext uri="{FF2B5EF4-FFF2-40B4-BE49-F238E27FC236}">
                  <a16:creationId xmlns:a16="http://schemas.microsoft.com/office/drawing/2014/main" id="{230F32C2-7CAF-637F-651A-ADB6C0C4420F}"/>
                </a:ext>
              </a:extLst>
            </p:cNvPr>
            <p:cNvSpPr/>
            <p:nvPr/>
          </p:nvSpPr>
          <p:spPr>
            <a:xfrm>
              <a:off x="397565" y="3222839"/>
              <a:ext cx="1279666" cy="1579078"/>
            </a:xfrm>
            <a:prstGeom prst="foldedCorner">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400" dirty="0"/>
            </a:p>
          </p:txBody>
        </p:sp>
        <p:sp>
          <p:nvSpPr>
            <p:cNvPr id="49" name="Textfeld 48">
              <a:extLst>
                <a:ext uri="{FF2B5EF4-FFF2-40B4-BE49-F238E27FC236}">
                  <a16:creationId xmlns:a16="http://schemas.microsoft.com/office/drawing/2014/main" id="{EE13E5ED-863E-58AA-F042-F00524B68DF7}"/>
                </a:ext>
              </a:extLst>
            </p:cNvPr>
            <p:cNvSpPr txBox="1"/>
            <p:nvPr/>
          </p:nvSpPr>
          <p:spPr>
            <a:xfrm>
              <a:off x="439598" y="3282345"/>
              <a:ext cx="1195599" cy="1296930"/>
            </a:xfrm>
            <a:prstGeom prst="rect">
              <a:avLst/>
            </a:prstGeom>
            <a:noFill/>
          </p:spPr>
          <p:txBody>
            <a:bodyPr wrap="square" rtlCol="0">
              <a:spAutoFit/>
            </a:bodyPr>
            <a:lstStyle/>
            <a:p>
              <a:pPr algn="ctr"/>
              <a:r>
                <a:rPr lang="de-DE" sz="1400" dirty="0">
                  <a:latin typeface="+mn-lt"/>
                </a:rPr>
                <a:t>SOB </a:t>
              </a:r>
            </a:p>
            <a:p>
              <a:pPr algn="ctr"/>
              <a:r>
                <a:rPr lang="de-DE" sz="1400" dirty="0">
                  <a:latin typeface="+mn-lt"/>
                </a:rPr>
                <a:t>Anfang </a:t>
              </a:r>
            </a:p>
            <a:p>
              <a:pPr algn="ctr"/>
              <a:r>
                <a:rPr lang="de-DE" sz="1400" dirty="0">
                  <a:latin typeface="+mn-lt"/>
                </a:rPr>
                <a:t>Kl. 1</a:t>
              </a:r>
            </a:p>
            <a:p>
              <a:pPr algn="ctr"/>
              <a:r>
                <a:rPr lang="de-DE" sz="1400" dirty="0" err="1">
                  <a:latin typeface="+mn-lt"/>
                </a:rPr>
                <a:t>Zahlverst</a:t>
              </a:r>
              <a:r>
                <a:rPr lang="de-DE" sz="1400" dirty="0">
                  <a:latin typeface="+mn-lt"/>
                </a:rPr>
                <a:t>.</a:t>
              </a:r>
            </a:p>
            <a:p>
              <a:pPr algn="ctr"/>
              <a:r>
                <a:rPr lang="de-DE" sz="1400" dirty="0">
                  <a:latin typeface="+mn-lt"/>
                </a:rPr>
                <a:t>ZR 10/20</a:t>
              </a:r>
            </a:p>
          </p:txBody>
        </p:sp>
      </p:grpSp>
      <p:grpSp>
        <p:nvGrpSpPr>
          <p:cNvPr id="50" name="Gruppieren 49">
            <a:extLst>
              <a:ext uri="{FF2B5EF4-FFF2-40B4-BE49-F238E27FC236}">
                <a16:creationId xmlns:a16="http://schemas.microsoft.com/office/drawing/2014/main" id="{7B2718D6-D5DB-15A7-7C24-4A99750D78EC}"/>
              </a:ext>
            </a:extLst>
          </p:cNvPr>
          <p:cNvGrpSpPr/>
          <p:nvPr/>
        </p:nvGrpSpPr>
        <p:grpSpPr>
          <a:xfrm>
            <a:off x="72695" y="3391877"/>
            <a:ext cx="8205215" cy="465872"/>
            <a:chOff x="231984" y="6069340"/>
            <a:chExt cx="8732400" cy="673100"/>
          </a:xfrm>
        </p:grpSpPr>
        <p:sp>
          <p:nvSpPr>
            <p:cNvPr id="51" name="Richtungspfeil 50">
              <a:extLst>
                <a:ext uri="{FF2B5EF4-FFF2-40B4-BE49-F238E27FC236}">
                  <a16:creationId xmlns:a16="http://schemas.microsoft.com/office/drawing/2014/main" id="{068D6AB0-37EE-0E95-C6AD-C917D6F2CB7F}"/>
                </a:ext>
              </a:extLst>
            </p:cNvPr>
            <p:cNvSpPr/>
            <p:nvPr/>
          </p:nvSpPr>
          <p:spPr>
            <a:xfrm flipH="1">
              <a:off x="231984" y="6069340"/>
              <a:ext cx="8675261" cy="673100"/>
            </a:xfrm>
            <a:prstGeom prst="homePlate">
              <a:avLst/>
            </a:prstGeom>
            <a:solidFill>
              <a:schemeClr val="accent6">
                <a:lumMod val="40000"/>
                <a:lumOff val="60000"/>
              </a:schemeClr>
            </a:solidFill>
            <a:ln>
              <a:noFill/>
            </a:ln>
            <a:scene3d>
              <a:camera prst="orthographicFront"/>
              <a:lightRig rig="threePt" dir="t"/>
            </a:scene3d>
            <a:sp3d>
              <a:bevelT/>
            </a:sp3d>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52" name="Textfeld 51">
              <a:extLst>
                <a:ext uri="{FF2B5EF4-FFF2-40B4-BE49-F238E27FC236}">
                  <a16:creationId xmlns:a16="http://schemas.microsoft.com/office/drawing/2014/main" id="{4ECBD9AE-33C4-BC7B-749B-7418C506B0DB}"/>
                </a:ext>
              </a:extLst>
            </p:cNvPr>
            <p:cNvSpPr txBox="1"/>
            <p:nvPr/>
          </p:nvSpPr>
          <p:spPr>
            <a:xfrm>
              <a:off x="853168" y="6144280"/>
              <a:ext cx="8111216" cy="533617"/>
            </a:xfrm>
            <a:prstGeom prst="rect">
              <a:avLst/>
            </a:prstGeom>
            <a:noFill/>
          </p:spPr>
          <p:txBody>
            <a:bodyPr wrap="square">
              <a:spAutoFit/>
            </a:bodyPr>
            <a:lstStyle/>
            <a:p>
              <a:pPr algn="l" rtl="0">
                <a:spcBef>
                  <a:spcPts val="0"/>
                </a:spcBef>
                <a:spcAft>
                  <a:spcPts val="0"/>
                </a:spcAft>
              </a:pPr>
              <a:r>
                <a:rPr lang="de-DE" sz="1800" b="0" i="0" u="none" strike="noStrike" dirty="0">
                  <a:solidFill>
                    <a:srgbClr val="000000"/>
                  </a:solidFill>
                  <a:effectLst/>
                  <a:latin typeface="+mn-lt"/>
                </a:rPr>
                <a:t>Blick auf das, was Lernende bereits mitbringen.</a:t>
              </a:r>
            </a:p>
          </p:txBody>
        </p:sp>
      </p:grpSp>
      <p:grpSp>
        <p:nvGrpSpPr>
          <p:cNvPr id="53" name="Gruppieren 52">
            <a:extLst>
              <a:ext uri="{FF2B5EF4-FFF2-40B4-BE49-F238E27FC236}">
                <a16:creationId xmlns:a16="http://schemas.microsoft.com/office/drawing/2014/main" id="{7E3F730C-78EB-C72F-B161-348DE1037AAA}"/>
              </a:ext>
            </a:extLst>
          </p:cNvPr>
          <p:cNvGrpSpPr/>
          <p:nvPr/>
        </p:nvGrpSpPr>
        <p:grpSpPr>
          <a:xfrm>
            <a:off x="2521812" y="1201248"/>
            <a:ext cx="268028" cy="239639"/>
            <a:chOff x="523964" y="571459"/>
            <a:chExt cx="665799" cy="637501"/>
          </a:xfrm>
          <a:solidFill>
            <a:schemeClr val="accent2"/>
          </a:solidFill>
          <a:effectLst>
            <a:outerShdw blurRad="50800" dist="38100" dir="2700000" algn="tl" rotWithShape="0">
              <a:prstClr val="black">
                <a:alpha val="40000"/>
              </a:prstClr>
            </a:outerShdw>
          </a:effectLst>
        </p:grpSpPr>
        <p:sp>
          <p:nvSpPr>
            <p:cNvPr id="54" name="Träne 53">
              <a:extLst>
                <a:ext uri="{FF2B5EF4-FFF2-40B4-BE49-F238E27FC236}">
                  <a16:creationId xmlns:a16="http://schemas.microsoft.com/office/drawing/2014/main" id="{505197DE-9089-0E88-54FF-2CC88D56C8F5}"/>
                </a:ext>
              </a:extLst>
            </p:cNvPr>
            <p:cNvSpPr/>
            <p:nvPr/>
          </p:nvSpPr>
          <p:spPr>
            <a:xfrm rot="8028533">
              <a:off x="538113" y="557310"/>
              <a:ext cx="637501" cy="665799"/>
            </a:xfrm>
            <a:prstGeom prst="teardrop">
              <a:avLst>
                <a:gd name="adj" fmla="val 152500"/>
              </a:avLst>
            </a:prstGeom>
            <a:grp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55" name="Oval 54">
              <a:extLst>
                <a:ext uri="{FF2B5EF4-FFF2-40B4-BE49-F238E27FC236}">
                  <a16:creationId xmlns:a16="http://schemas.microsoft.com/office/drawing/2014/main" id="{EDA0A891-E9F1-4792-7409-98819A92D7C4}"/>
                </a:ext>
              </a:extLst>
            </p:cNvPr>
            <p:cNvSpPr>
              <a:spLocks noChangeAspect="1"/>
            </p:cNvSpPr>
            <p:nvPr/>
          </p:nvSpPr>
          <p:spPr>
            <a:xfrm>
              <a:off x="723898" y="767746"/>
              <a:ext cx="245891" cy="25200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grpSp>
      <p:grpSp>
        <p:nvGrpSpPr>
          <p:cNvPr id="56" name="Gruppieren 55">
            <a:extLst>
              <a:ext uri="{FF2B5EF4-FFF2-40B4-BE49-F238E27FC236}">
                <a16:creationId xmlns:a16="http://schemas.microsoft.com/office/drawing/2014/main" id="{55E16B2B-EE0B-FECC-EEF8-2810109FFE7B}"/>
              </a:ext>
            </a:extLst>
          </p:cNvPr>
          <p:cNvGrpSpPr/>
          <p:nvPr/>
        </p:nvGrpSpPr>
        <p:grpSpPr>
          <a:xfrm>
            <a:off x="4398628" y="1180947"/>
            <a:ext cx="268028" cy="239639"/>
            <a:chOff x="523964" y="571459"/>
            <a:chExt cx="665799" cy="637501"/>
          </a:xfrm>
          <a:solidFill>
            <a:schemeClr val="accent2"/>
          </a:solidFill>
          <a:effectLst>
            <a:outerShdw blurRad="50800" dist="38100" dir="2700000" algn="tl" rotWithShape="0">
              <a:prstClr val="black">
                <a:alpha val="40000"/>
              </a:prstClr>
            </a:outerShdw>
          </a:effectLst>
        </p:grpSpPr>
        <p:sp>
          <p:nvSpPr>
            <p:cNvPr id="57" name="Träne 56">
              <a:extLst>
                <a:ext uri="{FF2B5EF4-FFF2-40B4-BE49-F238E27FC236}">
                  <a16:creationId xmlns:a16="http://schemas.microsoft.com/office/drawing/2014/main" id="{CF86BF39-DC71-6C68-840F-ED2AF01BB4CE}"/>
                </a:ext>
              </a:extLst>
            </p:cNvPr>
            <p:cNvSpPr/>
            <p:nvPr/>
          </p:nvSpPr>
          <p:spPr>
            <a:xfrm rot="8028533">
              <a:off x="538113" y="557310"/>
              <a:ext cx="637501" cy="665799"/>
            </a:xfrm>
            <a:prstGeom prst="teardrop">
              <a:avLst>
                <a:gd name="adj" fmla="val 152500"/>
              </a:avLst>
            </a:prstGeom>
            <a:grp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58" name="Oval 57">
              <a:extLst>
                <a:ext uri="{FF2B5EF4-FFF2-40B4-BE49-F238E27FC236}">
                  <a16:creationId xmlns:a16="http://schemas.microsoft.com/office/drawing/2014/main" id="{36137F66-0CF2-DFA2-15C7-08352DEB0047}"/>
                </a:ext>
              </a:extLst>
            </p:cNvPr>
            <p:cNvSpPr>
              <a:spLocks noChangeAspect="1"/>
            </p:cNvSpPr>
            <p:nvPr/>
          </p:nvSpPr>
          <p:spPr>
            <a:xfrm>
              <a:off x="723898" y="767746"/>
              <a:ext cx="245891" cy="25200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grpSp>
      <p:grpSp>
        <p:nvGrpSpPr>
          <p:cNvPr id="59" name="Gruppieren 58">
            <a:extLst>
              <a:ext uri="{FF2B5EF4-FFF2-40B4-BE49-F238E27FC236}">
                <a16:creationId xmlns:a16="http://schemas.microsoft.com/office/drawing/2014/main" id="{86FB2B4A-3095-DA26-F80D-699E647658BD}"/>
              </a:ext>
            </a:extLst>
          </p:cNvPr>
          <p:cNvGrpSpPr/>
          <p:nvPr/>
        </p:nvGrpSpPr>
        <p:grpSpPr>
          <a:xfrm>
            <a:off x="6355193" y="1188891"/>
            <a:ext cx="268028" cy="239639"/>
            <a:chOff x="523964" y="604117"/>
            <a:chExt cx="665799" cy="637501"/>
          </a:xfrm>
          <a:solidFill>
            <a:schemeClr val="accent2"/>
          </a:solidFill>
          <a:effectLst>
            <a:outerShdw blurRad="50800" dist="38100" dir="2700000" algn="tl" rotWithShape="0">
              <a:prstClr val="black">
                <a:alpha val="40000"/>
              </a:prstClr>
            </a:outerShdw>
          </a:effectLst>
        </p:grpSpPr>
        <p:sp>
          <p:nvSpPr>
            <p:cNvPr id="60" name="Träne 59">
              <a:extLst>
                <a:ext uri="{FF2B5EF4-FFF2-40B4-BE49-F238E27FC236}">
                  <a16:creationId xmlns:a16="http://schemas.microsoft.com/office/drawing/2014/main" id="{E7343171-6ABC-A21E-ABF1-C7724FE37B6E}"/>
                </a:ext>
              </a:extLst>
            </p:cNvPr>
            <p:cNvSpPr/>
            <p:nvPr/>
          </p:nvSpPr>
          <p:spPr>
            <a:xfrm rot="8028533">
              <a:off x="538113" y="589968"/>
              <a:ext cx="637501" cy="665799"/>
            </a:xfrm>
            <a:prstGeom prst="teardrop">
              <a:avLst>
                <a:gd name="adj" fmla="val 152500"/>
              </a:avLst>
            </a:prstGeom>
            <a:grp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61" name="Oval 60">
              <a:extLst>
                <a:ext uri="{FF2B5EF4-FFF2-40B4-BE49-F238E27FC236}">
                  <a16:creationId xmlns:a16="http://schemas.microsoft.com/office/drawing/2014/main" id="{A98FA838-A33C-C9EB-249E-A07A25DB71B0}"/>
                </a:ext>
              </a:extLst>
            </p:cNvPr>
            <p:cNvSpPr>
              <a:spLocks noChangeAspect="1"/>
            </p:cNvSpPr>
            <p:nvPr/>
          </p:nvSpPr>
          <p:spPr>
            <a:xfrm>
              <a:off x="723898" y="767746"/>
              <a:ext cx="245891" cy="25200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grpSp>
      <p:grpSp>
        <p:nvGrpSpPr>
          <p:cNvPr id="62" name="Gruppieren 61">
            <a:extLst>
              <a:ext uri="{FF2B5EF4-FFF2-40B4-BE49-F238E27FC236}">
                <a16:creationId xmlns:a16="http://schemas.microsoft.com/office/drawing/2014/main" id="{73A14BCE-A09B-8D39-DC02-334C566A3F81}"/>
              </a:ext>
            </a:extLst>
          </p:cNvPr>
          <p:cNvGrpSpPr/>
          <p:nvPr/>
        </p:nvGrpSpPr>
        <p:grpSpPr>
          <a:xfrm>
            <a:off x="706974" y="1176972"/>
            <a:ext cx="266099" cy="249474"/>
            <a:chOff x="523964" y="571459"/>
            <a:chExt cx="665799" cy="637501"/>
          </a:xfrm>
          <a:solidFill>
            <a:schemeClr val="accent2"/>
          </a:solidFill>
          <a:effectLst>
            <a:outerShdw blurRad="50800" dist="38100" dir="2700000" algn="tl" rotWithShape="0">
              <a:prstClr val="black">
                <a:alpha val="40000"/>
              </a:prstClr>
            </a:outerShdw>
          </a:effectLst>
        </p:grpSpPr>
        <p:sp>
          <p:nvSpPr>
            <p:cNvPr id="63" name="Träne 62">
              <a:extLst>
                <a:ext uri="{FF2B5EF4-FFF2-40B4-BE49-F238E27FC236}">
                  <a16:creationId xmlns:a16="http://schemas.microsoft.com/office/drawing/2014/main" id="{62353FCA-D356-9F3E-82DA-D211FF67862D}"/>
                </a:ext>
              </a:extLst>
            </p:cNvPr>
            <p:cNvSpPr/>
            <p:nvPr/>
          </p:nvSpPr>
          <p:spPr>
            <a:xfrm rot="8028533">
              <a:off x="538113" y="557310"/>
              <a:ext cx="637501" cy="665799"/>
            </a:xfrm>
            <a:prstGeom prst="teardrop">
              <a:avLst>
                <a:gd name="adj" fmla="val 152500"/>
              </a:avLst>
            </a:prstGeom>
            <a:grpFill/>
            <a:ln w="28575"/>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sp>
          <p:nvSpPr>
            <p:cNvPr id="64" name="Oval 63">
              <a:extLst>
                <a:ext uri="{FF2B5EF4-FFF2-40B4-BE49-F238E27FC236}">
                  <a16:creationId xmlns:a16="http://schemas.microsoft.com/office/drawing/2014/main" id="{5E5870C2-703C-A895-BE6C-D79C079DEE25}"/>
                </a:ext>
              </a:extLst>
            </p:cNvPr>
            <p:cNvSpPr>
              <a:spLocks noChangeAspect="1"/>
            </p:cNvSpPr>
            <p:nvPr/>
          </p:nvSpPr>
          <p:spPr>
            <a:xfrm>
              <a:off x="723898" y="767746"/>
              <a:ext cx="245891" cy="252000"/>
            </a:xfrm>
            <a:prstGeom prst="ellipse">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sz="1600"/>
            </a:p>
          </p:txBody>
        </p:sp>
      </p:grpSp>
      <p:sp>
        <p:nvSpPr>
          <p:cNvPr id="65" name="Textfeld 64">
            <a:extLst>
              <a:ext uri="{FF2B5EF4-FFF2-40B4-BE49-F238E27FC236}">
                <a16:creationId xmlns:a16="http://schemas.microsoft.com/office/drawing/2014/main" id="{5FCC05FF-8EA0-C989-B396-BC7A0D1D3778}"/>
              </a:ext>
            </a:extLst>
          </p:cNvPr>
          <p:cNvSpPr txBox="1"/>
          <p:nvPr/>
        </p:nvSpPr>
        <p:spPr>
          <a:xfrm>
            <a:off x="656377" y="5960782"/>
            <a:ext cx="3522518" cy="504000"/>
          </a:xfrm>
          <a:prstGeom prst="rect">
            <a:avLst/>
          </a:prstGeom>
          <a:solidFill>
            <a:schemeClr val="bg1"/>
          </a:solidFill>
        </p:spPr>
        <p:txBody>
          <a:bodyPr wrap="square" rtlCol="0">
            <a:spAutoFit/>
          </a:bodyPr>
          <a:lstStyle/>
          <a:p>
            <a:pPr marL="342900" indent="-342900">
              <a:spcBef>
                <a:spcPts val="400"/>
              </a:spcBef>
            </a:pPr>
            <a:r>
              <a:rPr lang="de-DE" sz="1400" dirty="0">
                <a:solidFill>
                  <a:schemeClr val="accent3"/>
                </a:solidFill>
                <a:latin typeface="Calibri"/>
                <a:cs typeface="Calibri"/>
              </a:rPr>
              <a:t>https://</a:t>
            </a:r>
            <a:r>
              <a:rPr lang="de-DE" sz="1400" dirty="0" err="1">
                <a:solidFill>
                  <a:schemeClr val="accent3"/>
                </a:solidFill>
                <a:latin typeface="Calibri"/>
                <a:cs typeface="Calibri"/>
              </a:rPr>
              <a:t>pikas.dzlm.de</a:t>
            </a:r>
            <a:r>
              <a:rPr lang="de-DE" sz="1400" dirty="0">
                <a:solidFill>
                  <a:schemeClr val="accent3"/>
                </a:solidFill>
                <a:latin typeface="Calibri"/>
                <a:cs typeface="Calibri"/>
              </a:rPr>
              <a:t>/</a:t>
            </a:r>
            <a:r>
              <a:rPr lang="de-DE" sz="1400" dirty="0" err="1">
                <a:solidFill>
                  <a:schemeClr val="accent3"/>
                </a:solidFill>
                <a:latin typeface="Calibri"/>
                <a:cs typeface="Calibri"/>
              </a:rPr>
              <a:t>node</a:t>
            </a:r>
            <a:r>
              <a:rPr lang="de-DE" sz="1400" dirty="0">
                <a:solidFill>
                  <a:schemeClr val="accent3"/>
                </a:solidFill>
                <a:latin typeface="Calibri"/>
                <a:cs typeface="Calibri"/>
              </a:rPr>
              <a:t>/1908</a:t>
            </a:r>
          </a:p>
        </p:txBody>
      </p:sp>
      <p:pic>
        <p:nvPicPr>
          <p:cNvPr id="66" name="Grafik 65" descr="Internet mit einfarbiger Füllung">
            <a:extLst>
              <a:ext uri="{FF2B5EF4-FFF2-40B4-BE49-F238E27FC236}">
                <a16:creationId xmlns:a16="http://schemas.microsoft.com/office/drawing/2014/main" id="{AE4D6FF5-2A24-BB2B-2868-29C6501887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23633" y="5701341"/>
            <a:ext cx="826662" cy="826662"/>
          </a:xfrm>
          <a:prstGeom prst="rect">
            <a:avLst/>
          </a:prstGeom>
        </p:spPr>
      </p:pic>
      <p:sp>
        <p:nvSpPr>
          <p:cNvPr id="67" name="Textfeld 66">
            <a:extLst>
              <a:ext uri="{FF2B5EF4-FFF2-40B4-BE49-F238E27FC236}">
                <a16:creationId xmlns:a16="http://schemas.microsoft.com/office/drawing/2014/main" id="{3DCB87EC-B75F-A631-E1D1-1046A54EAC2D}"/>
              </a:ext>
            </a:extLst>
          </p:cNvPr>
          <p:cNvSpPr txBox="1"/>
          <p:nvPr/>
        </p:nvSpPr>
        <p:spPr>
          <a:xfrm>
            <a:off x="5021129" y="5964820"/>
            <a:ext cx="3522518" cy="307777"/>
          </a:xfrm>
          <a:prstGeom prst="rect">
            <a:avLst/>
          </a:prstGeom>
          <a:solidFill>
            <a:schemeClr val="bg1"/>
          </a:solidFill>
        </p:spPr>
        <p:txBody>
          <a:bodyPr wrap="square" rtlCol="0">
            <a:spAutoFit/>
          </a:bodyPr>
          <a:lstStyle/>
          <a:p>
            <a:pPr marL="342900" indent="-342900">
              <a:spcBef>
                <a:spcPts val="400"/>
              </a:spcBef>
            </a:pPr>
            <a:r>
              <a:rPr lang="de-DE" sz="1400" dirty="0">
                <a:solidFill>
                  <a:schemeClr val="accent3"/>
                </a:solidFill>
                <a:latin typeface="Calibri"/>
                <a:cs typeface="Calibri"/>
              </a:rPr>
              <a:t>https://</a:t>
            </a:r>
            <a:r>
              <a:rPr lang="de-DE" sz="1400" dirty="0" err="1">
                <a:solidFill>
                  <a:schemeClr val="accent3"/>
                </a:solidFill>
                <a:latin typeface="Calibri"/>
                <a:cs typeface="Calibri"/>
              </a:rPr>
              <a:t>pikas.dzlm.de</a:t>
            </a:r>
            <a:r>
              <a:rPr lang="de-DE" sz="1400" dirty="0">
                <a:solidFill>
                  <a:schemeClr val="accent3"/>
                </a:solidFill>
                <a:latin typeface="Calibri"/>
                <a:cs typeface="Calibri"/>
              </a:rPr>
              <a:t>/</a:t>
            </a:r>
            <a:r>
              <a:rPr lang="de-DE" sz="1400" dirty="0" err="1">
                <a:solidFill>
                  <a:schemeClr val="accent3"/>
                </a:solidFill>
                <a:latin typeface="Calibri"/>
                <a:cs typeface="Calibri"/>
              </a:rPr>
              <a:t>node</a:t>
            </a:r>
            <a:r>
              <a:rPr lang="de-DE" sz="1400" dirty="0">
                <a:solidFill>
                  <a:schemeClr val="accent3"/>
                </a:solidFill>
                <a:latin typeface="Calibri"/>
                <a:cs typeface="Calibri"/>
              </a:rPr>
              <a:t>/1914</a:t>
            </a:r>
          </a:p>
        </p:txBody>
      </p:sp>
      <p:pic>
        <p:nvPicPr>
          <p:cNvPr id="68" name="Grafik 67" descr="Internet mit einfarbiger Füllung">
            <a:extLst>
              <a:ext uri="{FF2B5EF4-FFF2-40B4-BE49-F238E27FC236}">
                <a16:creationId xmlns:a16="http://schemas.microsoft.com/office/drawing/2014/main" id="{F6733DC4-4249-B42B-FA74-2C8D6FA9678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88385" y="5705379"/>
            <a:ext cx="826662" cy="826662"/>
          </a:xfrm>
          <a:prstGeom prst="rect">
            <a:avLst/>
          </a:prstGeom>
        </p:spPr>
      </p:pic>
    </p:spTree>
    <p:extLst>
      <p:ext uri="{BB962C8B-B14F-4D97-AF65-F5344CB8AC3E}">
        <p14:creationId xmlns:p14="http://schemas.microsoft.com/office/powerpoint/2010/main" val="16558101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anim calcmode="lin" valueType="num">
                                      <p:cBhvr additive="base">
                                        <p:cTn id="7" dur="500" fill="hold"/>
                                        <p:tgtEl>
                                          <p:spTgt spid="50"/>
                                        </p:tgtEl>
                                        <p:attrNameLst>
                                          <p:attrName>ppt_x</p:attrName>
                                        </p:attrNameLst>
                                      </p:cBhvr>
                                      <p:tavLst>
                                        <p:tav tm="0">
                                          <p:val>
                                            <p:strVal val="1+#ppt_w/2"/>
                                          </p:val>
                                        </p:tav>
                                        <p:tav tm="100000">
                                          <p:val>
                                            <p:strVal val="#ppt_x"/>
                                          </p:val>
                                        </p:tav>
                                      </p:tavLst>
                                    </p:anim>
                                    <p:anim calcmode="lin" valueType="num">
                                      <p:cBhvr additive="base">
                                        <p:cTn id="8" dur="500" fill="hold"/>
                                        <p:tgtEl>
                                          <p:spTgt spid="5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nodeType="clickEffect">
                                  <p:stCondLst>
                                    <p:cond delay="0"/>
                                  </p:stCondLst>
                                  <p:childTnLst>
                                    <p:set>
                                      <p:cBhvr>
                                        <p:cTn id="12" dur="1" fill="hold">
                                          <p:stCondLst>
                                            <p:cond delay="0"/>
                                          </p:stCondLst>
                                        </p:cTn>
                                        <p:tgtEl>
                                          <p:spTgt spid="31"/>
                                        </p:tgtEl>
                                        <p:attrNameLst>
                                          <p:attrName>style.visibility</p:attrName>
                                        </p:attrNameLst>
                                      </p:cBhvr>
                                      <p:to>
                                        <p:strVal val="visible"/>
                                      </p:to>
                                    </p:set>
                                    <p:animEffect transition="in" filter="dissolve">
                                      <p:cBhvr>
                                        <p:cTn id="13" dur="500"/>
                                        <p:tgtEl>
                                          <p:spTgt spid="31"/>
                                        </p:tgtEl>
                                      </p:cBhvr>
                                    </p:animEffect>
                                  </p:childTnLst>
                                </p:cTn>
                              </p:par>
                              <p:par>
                                <p:cTn id="14" presetID="9" presetClass="entr" presetSubtype="0" fill="hold"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dissolve">
                                      <p:cBhvr>
                                        <p:cTn id="16" dur="500"/>
                                        <p:tgtEl>
                                          <p:spTgt spid="34"/>
                                        </p:tgtEl>
                                      </p:cBhvr>
                                    </p:animEffect>
                                  </p:childTnLst>
                                </p:cTn>
                              </p:par>
                              <p:par>
                                <p:cTn id="17" presetID="9" presetClass="entr" presetSubtype="0" fill="hold" nodeType="with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dissolve">
                                      <p:cBhvr>
                                        <p:cTn id="19" dur="500"/>
                                        <p:tgtEl>
                                          <p:spTgt spid="37"/>
                                        </p:tgtEl>
                                      </p:cBhvr>
                                    </p:animEffect>
                                  </p:childTnLst>
                                </p:cTn>
                              </p:par>
                            </p:childTnLst>
                          </p:cTn>
                        </p:par>
                      </p:childTnLst>
                    </p:cTn>
                  </p:par>
                  <p:par>
                    <p:cTn id="20" fill="hold">
                      <p:stCondLst>
                        <p:cond delay="indefinite"/>
                      </p:stCondLst>
                      <p:childTnLst>
                        <p:par>
                          <p:cTn id="21" fill="hold">
                            <p:stCondLst>
                              <p:cond delay="0"/>
                            </p:stCondLst>
                            <p:childTnLst>
                              <p:par>
                                <p:cTn id="22" presetID="2" presetClass="entr" presetSubtype="8" fill="hold" nodeType="clickEffect">
                                  <p:stCondLst>
                                    <p:cond delay="0"/>
                                  </p:stCondLst>
                                  <p:childTnLst>
                                    <p:set>
                                      <p:cBhvr>
                                        <p:cTn id="23" dur="1" fill="hold">
                                          <p:stCondLst>
                                            <p:cond delay="0"/>
                                          </p:stCondLst>
                                        </p:cTn>
                                        <p:tgtEl>
                                          <p:spTgt spid="40"/>
                                        </p:tgtEl>
                                        <p:attrNameLst>
                                          <p:attrName>style.visibility</p:attrName>
                                        </p:attrNameLst>
                                      </p:cBhvr>
                                      <p:to>
                                        <p:strVal val="visible"/>
                                      </p:to>
                                    </p:set>
                                    <p:anim calcmode="lin" valueType="num">
                                      <p:cBhvr additive="base">
                                        <p:cTn id="24" dur="500" fill="hold"/>
                                        <p:tgtEl>
                                          <p:spTgt spid="40"/>
                                        </p:tgtEl>
                                        <p:attrNameLst>
                                          <p:attrName>ppt_x</p:attrName>
                                        </p:attrNameLst>
                                      </p:cBhvr>
                                      <p:tavLst>
                                        <p:tav tm="0">
                                          <p:val>
                                            <p:strVal val="0-#ppt_w/2"/>
                                          </p:val>
                                        </p:tav>
                                        <p:tav tm="100000">
                                          <p:val>
                                            <p:strVal val="#ppt_x"/>
                                          </p:val>
                                        </p:tav>
                                      </p:tavLst>
                                    </p:anim>
                                    <p:anim calcmode="lin" valueType="num">
                                      <p:cBhvr additive="base">
                                        <p:cTn id="25" dur="500" fill="hold"/>
                                        <p:tgtEl>
                                          <p:spTgt spid="4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Inhaltsplatzhalter 5">
            <a:extLst>
              <a:ext uri="{FF2B5EF4-FFF2-40B4-BE49-F238E27FC236}">
                <a16:creationId xmlns:a16="http://schemas.microsoft.com/office/drawing/2014/main" id="{3C651E9E-2EE3-4BF3-9DD1-CFA8EC36B81B}"/>
              </a:ext>
            </a:extLst>
          </p:cNvPr>
          <p:cNvSpPr>
            <a:spLocks noGrp="1"/>
          </p:cNvSpPr>
          <p:nvPr>
            <p:ph idx="1"/>
          </p:nvPr>
        </p:nvSpPr>
        <p:spPr/>
        <p:txBody>
          <a:bodyPr/>
          <a:lstStyle/>
          <a:p>
            <a:pPr>
              <a:buNone/>
            </a:pPr>
            <a:r>
              <a:rPr lang="de-DE"/>
              <a:t>Diese Folie gehört mit zum Material und darf nicht entfernt werden.</a:t>
            </a:r>
          </a:p>
          <a:p>
            <a:pPr marL="285750" indent="-285750"/>
            <a:r>
              <a:rPr lang="de-DE"/>
              <a:t>Dieses Material wurde durch Christoph Selter und sein Team für das </a:t>
            </a:r>
            <a:r>
              <a:rPr lang="de-DE">
                <a:hlinkClick r:id="rId2"/>
              </a:rPr>
              <a:t>Deutsche Zentrum für Lehrerbildung Mathematik (DZLM)</a:t>
            </a:r>
            <a:r>
              <a:rPr lang="de-DE"/>
              <a:t> konzipiert und kann, soweit nicht anderweitig gekennzeichnet, unter der </a:t>
            </a:r>
            <a:r>
              <a:rPr lang="de-DE">
                <a:hlinkClick r:id="rId3"/>
              </a:rPr>
              <a:t>Creative Commons Lizenz BY-SA: Namensnennung – Weitergabe unter gleichen Bedingungen 4.0 International</a:t>
            </a:r>
            <a:r>
              <a:rPr lang="de-DE"/>
              <a:t> weiterverwendet werden.</a:t>
            </a:r>
          </a:p>
          <a:p>
            <a:pPr marL="285750" indent="-285750"/>
            <a:r>
              <a:rPr lang="de-DE"/>
              <a:t>Das bedeutet insbesondere: Alle Folien und Materialien können für Zwecke der Aus- und Fortbildung gerne genutzt werden – unter der Voraussetzung, dass immer die Quellenhinweise aufgeführt bleiben. </a:t>
            </a:r>
          </a:p>
          <a:p>
            <a:pPr marL="285750" indent="-285750"/>
            <a:r>
              <a:rPr lang="de-DE"/>
              <a:t>An der Erstellung des Materials haben mitgewirkt: Johanna Brandt, Stefanie </a:t>
            </a:r>
            <a:r>
              <a:rPr lang="de-DE" err="1"/>
              <a:t>Gatzka</a:t>
            </a:r>
            <a:r>
              <a:rPr lang="de-DE"/>
              <a:t>, Daniela Götze, Raja Herold-Blasius, Sarah Jaworek, Anja Kluge, Katharina </a:t>
            </a:r>
            <a:r>
              <a:rPr lang="de-DE" err="1"/>
              <a:t>Knaudt</a:t>
            </a:r>
            <a:r>
              <a:rPr lang="de-DE"/>
              <a:t>, Stefanie Menne, Christoph Selter, Esther Wensing</a:t>
            </a:r>
          </a:p>
          <a:p>
            <a:pPr marL="285750" indent="-285750"/>
            <a:r>
              <a:rPr lang="de-DE"/>
              <a:t>Dieses Material basiert auf Forschung und Entwicklung aus dem Projekt „</a:t>
            </a:r>
            <a:r>
              <a:rPr lang="de-DE" err="1"/>
              <a:t>SchuMaS</a:t>
            </a:r>
            <a:r>
              <a:rPr lang="de-DE"/>
              <a:t> – Schule macht stark“ (Projektnummer: SMS2101L). Das Modul ist angereichert durch Material aus den Projekten „</a:t>
            </a:r>
            <a:r>
              <a:rPr lang="de-DE" err="1"/>
              <a:t>Pikas</a:t>
            </a:r>
            <a:r>
              <a:rPr lang="de-DE"/>
              <a:t>“, „Kira – Kinder rechnen anders“, „MSK – Mathe sicher können“, „</a:t>
            </a:r>
            <a:r>
              <a:rPr lang="de-DE" err="1"/>
              <a:t>Mahiko</a:t>
            </a:r>
            <a:r>
              <a:rPr lang="de-DE"/>
              <a:t>“, „</a:t>
            </a:r>
            <a:r>
              <a:rPr lang="de-DE" err="1"/>
              <a:t>Faledia</a:t>
            </a:r>
            <a:r>
              <a:rPr lang="de-DE"/>
              <a:t>“ und „</a:t>
            </a:r>
            <a:r>
              <a:rPr lang="de-DE" err="1"/>
              <a:t>FöDiMa</a:t>
            </a:r>
            <a:r>
              <a:rPr lang="de-DE"/>
              <a:t> – Förderorientierte Diagnostik im inklusiven mathematischen Anfangsunterricht“ und „Mathematik aufholen nach Corona“.</a:t>
            </a:r>
          </a:p>
        </p:txBody>
      </p:sp>
      <p:sp>
        <p:nvSpPr>
          <p:cNvPr id="5" name="Titel 4">
            <a:extLst>
              <a:ext uri="{FF2B5EF4-FFF2-40B4-BE49-F238E27FC236}">
                <a16:creationId xmlns:a16="http://schemas.microsoft.com/office/drawing/2014/main" id="{83CA3021-DD12-498D-B5F0-BBA091376EB8}"/>
              </a:ext>
            </a:extLst>
          </p:cNvPr>
          <p:cNvSpPr>
            <a:spLocks noGrp="1"/>
          </p:cNvSpPr>
          <p:nvPr>
            <p:ph type="title"/>
          </p:nvPr>
        </p:nvSpPr>
        <p:spPr/>
        <p:txBody>
          <a:bodyPr/>
          <a:lstStyle/>
          <a:p>
            <a:r>
              <a:rPr lang="de-DE"/>
              <a:t>Hinweise zu den Lizenzbedingungen</a:t>
            </a:r>
          </a:p>
        </p:txBody>
      </p:sp>
    </p:spTree>
    <p:extLst>
      <p:ext uri="{BB962C8B-B14F-4D97-AF65-F5344CB8AC3E}">
        <p14:creationId xmlns:p14="http://schemas.microsoft.com/office/powerpoint/2010/main" val="26179860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MasterPhAnim="0" show="0">
  <p:cSld>
    <p:spTree>
      <p:nvGrpSpPr>
        <p:cNvPr id="1" name=""/>
        <p:cNvGrpSpPr/>
        <p:nvPr/>
      </p:nvGrpSpPr>
      <p:grpSpPr bwMode="auto">
        <a:xfrm>
          <a:off x="0" y="0"/>
          <a:ext cx="0" cy="0"/>
          <a:chOff x="0" y="0"/>
          <a:chExt cx="0" cy="0"/>
        </a:xfrm>
      </p:grpSpPr>
      <p:sp>
        <p:nvSpPr>
          <p:cNvPr id="3" name="Inhaltsplatzhalter 2"/>
          <p:cNvSpPr>
            <a:spLocks noGrp="1"/>
          </p:cNvSpPr>
          <p:nvPr>
            <p:ph idx="1"/>
          </p:nvPr>
        </p:nvSpPr>
        <p:spPr bwMode="auto"/>
        <p:txBody>
          <a:bodyPr/>
          <a:lstStyle/>
          <a:p>
            <a:pPr marL="0" indent="0">
              <a:buNone/>
              <a:defRPr/>
            </a:pPr>
            <a:r>
              <a:rPr lang="de-DE"/>
              <a:t>Diese Folie gehört mit zum Material und darf nicht entfernt werden.</a:t>
            </a:r>
            <a:endParaRPr/>
          </a:p>
          <a:p>
            <a:pPr>
              <a:defRPr/>
            </a:pPr>
            <a:r>
              <a:rPr lang="de-DE"/>
              <a:t>Bildnachweise und Zitatquellen finden sich auf den jeweiligen Folien bzw. Zusatzmaterialien.</a:t>
            </a:r>
            <a:endParaRPr/>
          </a:p>
          <a:p>
            <a:pPr>
              <a:defRPr/>
            </a:pPr>
            <a:r>
              <a:rPr lang="de-DE"/>
              <a:t>Mit dem Download der Materialien wird kein Eigentum an den Videos/Fotos erworben, sondern nur die Nutzungsmöglichkeit wie folgt: Die Nutzung ist im Rahmen der Aus- und Fortbildung von Lehrkräften zulässig, die Videos und Fotos sollen nur auf Plattformen mit Registrierung verbreitet werden, nicht frei im Internet wie z.B. öffentlich zugänglichen Videoplattformen wie YouTube. Streaming auf Plattformen mit Registrierungsschranken sind erlaubt.</a:t>
            </a:r>
            <a:endParaRPr/>
          </a:p>
          <a:p>
            <a:pPr>
              <a:defRPr/>
            </a:pPr>
            <a:r>
              <a:rPr lang="de-DE"/>
              <a:t>Eine andere Nutzung der Videos als in Lehrkräfteaus- und -fortbildung ist nicht erlaubt.</a:t>
            </a:r>
            <a:endParaRPr/>
          </a:p>
          <a:p>
            <a:pPr>
              <a:defRPr/>
            </a:pPr>
            <a:endParaRPr lang="de-DE"/>
          </a:p>
          <a:p>
            <a:pPr>
              <a:defRPr/>
            </a:pPr>
            <a:endParaRPr lang="de-DE"/>
          </a:p>
        </p:txBody>
      </p:sp>
      <p:sp>
        <p:nvSpPr>
          <p:cNvPr id="316" name="Zum Bearbeiten doppelklicken"/>
          <p:cNvSpPr txBox="1">
            <a:spLocks noGrp="1"/>
          </p:cNvSpPr>
          <p:nvPr>
            <p:ph type="title"/>
          </p:nvPr>
        </p:nvSpPr>
        <p:spPr bwMode="auto">
          <a:prstGeom prst="rect">
            <a:avLst/>
          </a:prstGeom>
        </p:spPr>
        <p:txBody>
          <a:bodyPr/>
          <a:lstStyle/>
          <a:p>
            <a:pPr>
              <a:defRPr/>
            </a:pPr>
            <a:r>
              <a:rPr lang="de-DE"/>
              <a:t>Hinweis zur Nutzung der urheberrechtlich geschützten Bilder und Videos</a:t>
            </a:r>
            <a:endParaRPr/>
          </a:p>
        </p:txBody>
      </p:sp>
      <p:sp>
        <p:nvSpPr>
          <p:cNvPr id="317" name="Text"/>
          <p:cNvSpPr txBox="1"/>
          <p:nvPr/>
        </p:nvSpPr>
        <p:spPr bwMode="auto">
          <a:xfrm>
            <a:off x="4268187" y="3232765"/>
            <a:ext cx="607626" cy="392470"/>
          </a:xfrm>
          <a:prstGeom prst="rect">
            <a:avLst/>
          </a:prstGeom>
          <a:ln w="12700">
            <a:miter lim="400000"/>
          </a:ln>
        </p:spPr>
        <p:txBody>
          <a:bodyPr wrap="none" lIns="45719" rIns="45719">
            <a:spAutoFit/>
          </a:bodyPr>
          <a:lstStyle/>
          <a:p>
            <a:pPr marL="0" marR="0" lvl="0" indent="0" algn="l" defTabSz="914400">
              <a:lnSpc>
                <a:spcPct val="120000"/>
              </a:lnSpc>
              <a:spcBef>
                <a:spcPts val="0"/>
              </a:spcBef>
              <a:spcAft>
                <a:spcPts val="0"/>
              </a:spcAft>
              <a:buClrTx/>
              <a:buSzTx/>
              <a:buFontTx/>
              <a:buNone/>
              <a:defRPr/>
            </a:pPr>
            <a:endParaRPr sz="2400" b="0" i="0" u="none" strike="noStrike" cap="none" spc="0">
              <a:ln>
                <a:noFill/>
              </a:ln>
              <a:solidFill>
                <a:srgbClr val="000000"/>
              </a:solidFill>
              <a:latin typeface="Calibri"/>
              <a:ea typeface="Arial"/>
              <a:cs typeface="Aria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07236072-4A52-C54D-9963-5319D1FFA5BC}"/>
              </a:ext>
            </a:extLst>
          </p:cNvPr>
          <p:cNvSpPr>
            <a:spLocks noGrp="1"/>
          </p:cNvSpPr>
          <p:nvPr>
            <p:ph idx="1"/>
          </p:nvPr>
        </p:nvSpPr>
        <p:spPr>
          <a:xfrm>
            <a:off x="252000" y="1916017"/>
            <a:ext cx="8640000" cy="4368436"/>
          </a:xfrm>
        </p:spPr>
        <p:txBody>
          <a:bodyPr/>
          <a:lstStyle/>
          <a:p>
            <a:r>
              <a:rPr lang="de-DE"/>
              <a:t>Die nächsten Folien dienen dazu:</a:t>
            </a:r>
          </a:p>
          <a:p>
            <a:pPr lvl="1"/>
            <a:r>
              <a:rPr lang="de-DE"/>
              <a:t>Die Relevanz der Erhebung von Basiskompetenzen zu Schuljahresbeginn für alle Jahrgangsstufen zu betonen, um Unterricht anschlussfähig gestalten zu können,</a:t>
            </a:r>
          </a:p>
          <a:p>
            <a:pPr lvl="1"/>
            <a:r>
              <a:rPr lang="de-DE">
                <a:sym typeface="Wingdings" pitchFamily="2" charset="2"/>
              </a:rPr>
              <a:t>einen Überblick über die arithmetischen Basiskompetenzen insgesamt sowie</a:t>
            </a:r>
          </a:p>
          <a:p>
            <a:pPr lvl="1"/>
            <a:r>
              <a:rPr lang="de-DE">
                <a:sym typeface="Wingdings" pitchFamily="2" charset="2"/>
              </a:rPr>
              <a:t>ausgewählte Basiskompetenzen zum Aufbau eines tragfähigen Zahlverständnisses im Besonderen zu geben. </a:t>
            </a:r>
            <a:endParaRPr lang="de-DE">
              <a:solidFill>
                <a:srgbClr val="FF0000"/>
              </a:solidFill>
            </a:endParaRPr>
          </a:p>
          <a:p>
            <a:r>
              <a:rPr lang="de-DE"/>
              <a:t>Didaktische Umsetzung:</a:t>
            </a:r>
          </a:p>
          <a:p>
            <a:pPr lvl="1"/>
            <a:r>
              <a:rPr lang="de-DE"/>
              <a:t>Falls Sie im Rahmen der Konferenz einen </a:t>
            </a:r>
            <a:r>
              <a:rPr lang="de-DE" err="1"/>
              <a:t>Beamer</a:t>
            </a:r>
            <a:r>
              <a:rPr lang="de-DE"/>
              <a:t> zur Verfügung haben, präsentieren Sie die Folien Ihrem Kollegium. </a:t>
            </a:r>
          </a:p>
          <a:p>
            <a:pPr lvl="1"/>
            <a:r>
              <a:rPr lang="de-DE"/>
              <a:t>Alternativ: Drucken Sie die Folien, aus und nutzen Sie diese(s) zur Veranschaulichung Ihrer Ausführungen.</a:t>
            </a:r>
          </a:p>
          <a:p>
            <a:r>
              <a:rPr lang="de-DE"/>
              <a:t>Wichtig!</a:t>
            </a:r>
          </a:p>
          <a:p>
            <a:pPr lvl="1"/>
            <a:r>
              <a:rPr lang="de-DE"/>
              <a:t>Betonen Sie, das die Diagnose von Basiskompetenzen zu Beginn eines neuen Schuljahres für alle Jahrgangsstufen relevant ist, um anschlussfähigen Unterricht und Förderung gestalten zu können.</a:t>
            </a:r>
          </a:p>
          <a:p>
            <a:pPr lvl="1"/>
            <a:endParaRPr lang="de-DE"/>
          </a:p>
          <a:p>
            <a:pPr lvl="1"/>
            <a:endParaRPr lang="de-DE"/>
          </a:p>
        </p:txBody>
      </p:sp>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s nächsten Inputs</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3414586258"/>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1.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a:solidFill>
                            <a:schemeClr val="accent1"/>
                          </a:solidFill>
                        </a:rPr>
                        <a:t>Kernbotschaft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a:solidFill>
                            <a:schemeClr val="accent1"/>
                          </a:solidFill>
                          <a:latin typeface="+mn-lt"/>
                          <a:ea typeface="+mn-ea"/>
                          <a:cs typeface="+mn-cs"/>
                        </a:rPr>
                        <a:t>Arithmetische Basiskompetenzen mit Fokussierung auf das Zahlverständnis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l" defTabSz="457200" rtl="0" eaLnBrk="1" latinLnBrk="0" hangingPunct="1"/>
                      <a:r>
                        <a:rPr lang="de-DE" sz="1100" kern="1200">
                          <a:solidFill>
                            <a:schemeClr val="accent1"/>
                          </a:solidFill>
                          <a:latin typeface="+mn-lt"/>
                          <a:ea typeface="+mn-ea"/>
                          <a:cs typeface="+mn-cs"/>
                        </a:rPr>
                        <a:t>2 Foli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6" name="Rechteck 5">
            <a:extLst>
              <a:ext uri="{FF2B5EF4-FFF2-40B4-BE49-F238E27FC236}">
                <a16:creationId xmlns:a16="http://schemas.microsoft.com/office/drawing/2014/main" id="{242A63DA-47FB-A523-2B7C-B5A8757B28BB}"/>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spTree>
    <p:extLst>
      <p:ext uri="{BB962C8B-B14F-4D97-AF65-F5344CB8AC3E}">
        <p14:creationId xmlns:p14="http://schemas.microsoft.com/office/powerpoint/2010/main" val="7810506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59A5C585-D72E-5E43-D66B-F39C83A07302}"/>
              </a:ext>
            </a:extLst>
          </p:cNvPr>
          <p:cNvSpPr>
            <a:spLocks noGrp="1"/>
          </p:cNvSpPr>
          <p:nvPr>
            <p:ph type="body" sz="quarter" idx="10"/>
          </p:nvPr>
        </p:nvSpPr>
        <p:spPr/>
        <p:txBody>
          <a:bodyPr/>
          <a:lstStyle/>
          <a:p>
            <a:r>
              <a:rPr lang="de-DE"/>
              <a:t>PIKAS 2023</a:t>
            </a:r>
          </a:p>
        </p:txBody>
      </p:sp>
      <p:pic>
        <p:nvPicPr>
          <p:cNvPr id="2" name="Grafik 1">
            <a:extLst>
              <a:ext uri="{FF2B5EF4-FFF2-40B4-BE49-F238E27FC236}">
                <a16:creationId xmlns:a16="http://schemas.microsoft.com/office/drawing/2014/main" id="{3B81167B-2C7E-D823-3DCE-71B960C5208C}"/>
              </a:ext>
            </a:extLst>
          </p:cNvPr>
          <p:cNvPicPr>
            <a:picLocks noChangeAspect="1"/>
          </p:cNvPicPr>
          <p:nvPr/>
        </p:nvPicPr>
        <p:blipFill>
          <a:blip r:embed="rId3"/>
          <a:stretch>
            <a:fillRect/>
          </a:stretch>
        </p:blipFill>
        <p:spPr>
          <a:xfrm>
            <a:off x="2749569" y="1534267"/>
            <a:ext cx="3644861" cy="5155616"/>
          </a:xfrm>
          <a:prstGeom prst="rect">
            <a:avLst/>
          </a:prstGeom>
          <a:ln>
            <a:solidFill>
              <a:srgbClr val="96939A"/>
            </a:solidFill>
          </a:ln>
        </p:spPr>
      </p:pic>
      <p:sp>
        <p:nvSpPr>
          <p:cNvPr id="13" name="Textfeld 12">
            <a:extLst>
              <a:ext uri="{FF2B5EF4-FFF2-40B4-BE49-F238E27FC236}">
                <a16:creationId xmlns:a16="http://schemas.microsoft.com/office/drawing/2014/main" id="{50EC2F64-4E90-FA9E-8236-9C6A84BF0DF5}"/>
              </a:ext>
            </a:extLst>
          </p:cNvPr>
          <p:cNvSpPr txBox="1"/>
          <p:nvPr/>
        </p:nvSpPr>
        <p:spPr>
          <a:xfrm>
            <a:off x="500092" y="2669249"/>
            <a:ext cx="2229597" cy="307777"/>
          </a:xfrm>
          <a:prstGeom prst="rect">
            <a:avLst/>
          </a:prstGeom>
          <a:solidFill>
            <a:srgbClr val="EEECEA"/>
          </a:solidFill>
        </p:spPr>
        <p:txBody>
          <a:bodyPr wrap="square" rtlCol="0">
            <a:spAutoFit/>
          </a:bodyPr>
          <a:lstStyle/>
          <a:p>
            <a:pPr marL="342900" indent="-342900">
              <a:spcBef>
                <a:spcPts val="400"/>
              </a:spcBef>
            </a:pPr>
            <a:r>
              <a:rPr lang="de-DE" sz="1400">
                <a:latin typeface="Calibri"/>
                <a:cs typeface="Calibri"/>
              </a:rPr>
              <a:t>ZAHLVERSTÄNDNIS</a:t>
            </a:r>
          </a:p>
        </p:txBody>
      </p:sp>
      <p:sp>
        <p:nvSpPr>
          <p:cNvPr id="14" name="Textfeld 13">
            <a:extLst>
              <a:ext uri="{FF2B5EF4-FFF2-40B4-BE49-F238E27FC236}">
                <a16:creationId xmlns:a16="http://schemas.microsoft.com/office/drawing/2014/main" id="{18524DA6-86AB-6A0D-AA54-9BCD30296944}"/>
              </a:ext>
            </a:extLst>
          </p:cNvPr>
          <p:cNvSpPr txBox="1"/>
          <p:nvPr/>
        </p:nvSpPr>
        <p:spPr>
          <a:xfrm>
            <a:off x="500092" y="3928056"/>
            <a:ext cx="2229597" cy="307777"/>
          </a:xfrm>
          <a:prstGeom prst="rect">
            <a:avLst/>
          </a:prstGeom>
          <a:solidFill>
            <a:srgbClr val="EEECEA"/>
          </a:solidFill>
        </p:spPr>
        <p:txBody>
          <a:bodyPr wrap="square" rtlCol="0">
            <a:spAutoFit/>
          </a:bodyPr>
          <a:lstStyle/>
          <a:p>
            <a:pPr marL="342900" indent="-342900">
              <a:spcBef>
                <a:spcPts val="400"/>
              </a:spcBef>
            </a:pPr>
            <a:r>
              <a:rPr lang="de-DE" sz="1400">
                <a:latin typeface="Calibri"/>
                <a:cs typeface="Calibri"/>
              </a:rPr>
              <a:t>OPERATIONSVERSTÄNDNIS</a:t>
            </a:r>
          </a:p>
        </p:txBody>
      </p:sp>
      <p:sp>
        <p:nvSpPr>
          <p:cNvPr id="15" name="Textfeld 14">
            <a:extLst>
              <a:ext uri="{FF2B5EF4-FFF2-40B4-BE49-F238E27FC236}">
                <a16:creationId xmlns:a16="http://schemas.microsoft.com/office/drawing/2014/main" id="{2F93D8C7-1F1C-A4DC-79A6-E927BDF798C9}"/>
              </a:ext>
            </a:extLst>
          </p:cNvPr>
          <p:cNvSpPr txBox="1"/>
          <p:nvPr/>
        </p:nvSpPr>
        <p:spPr>
          <a:xfrm>
            <a:off x="500091" y="5248183"/>
            <a:ext cx="2249478" cy="307777"/>
          </a:xfrm>
          <a:prstGeom prst="rect">
            <a:avLst/>
          </a:prstGeom>
          <a:solidFill>
            <a:srgbClr val="EEECEA"/>
          </a:solidFill>
        </p:spPr>
        <p:txBody>
          <a:bodyPr wrap="square" rtlCol="0">
            <a:spAutoFit/>
          </a:bodyPr>
          <a:lstStyle/>
          <a:p>
            <a:pPr marL="342900" indent="-342900">
              <a:spcBef>
                <a:spcPts val="400"/>
              </a:spcBef>
            </a:pPr>
            <a:r>
              <a:rPr lang="de-DE" sz="1400" dirty="0">
                <a:latin typeface="Calibri"/>
                <a:cs typeface="Calibri"/>
              </a:rPr>
              <a:t>STELLENWERTVERSTÄNDNIS</a:t>
            </a:r>
          </a:p>
        </p:txBody>
      </p:sp>
      <p:sp>
        <p:nvSpPr>
          <p:cNvPr id="16" name="Textfeld 15">
            <a:extLst>
              <a:ext uri="{FF2B5EF4-FFF2-40B4-BE49-F238E27FC236}">
                <a16:creationId xmlns:a16="http://schemas.microsoft.com/office/drawing/2014/main" id="{AA922B70-ED37-8B66-88FD-29186CE7293B}"/>
              </a:ext>
            </a:extLst>
          </p:cNvPr>
          <p:cNvSpPr txBox="1"/>
          <p:nvPr/>
        </p:nvSpPr>
        <p:spPr>
          <a:xfrm>
            <a:off x="6414308" y="2674330"/>
            <a:ext cx="2229597" cy="307777"/>
          </a:xfrm>
          <a:prstGeom prst="rect">
            <a:avLst/>
          </a:prstGeom>
          <a:solidFill>
            <a:srgbClr val="EEECEA"/>
          </a:solidFill>
        </p:spPr>
        <p:txBody>
          <a:bodyPr wrap="square" rtlCol="0">
            <a:spAutoFit/>
          </a:bodyPr>
          <a:lstStyle/>
          <a:p>
            <a:pPr marL="342900" indent="-342900" algn="r">
              <a:spcBef>
                <a:spcPts val="400"/>
              </a:spcBef>
            </a:pPr>
            <a:r>
              <a:rPr lang="de-DE" sz="1400">
                <a:latin typeface="Calibri"/>
                <a:cs typeface="Calibri"/>
              </a:rPr>
              <a:t>SCHNELLES KOPFRECHNEN</a:t>
            </a:r>
          </a:p>
        </p:txBody>
      </p:sp>
      <p:sp>
        <p:nvSpPr>
          <p:cNvPr id="17" name="Textfeld 16">
            <a:extLst>
              <a:ext uri="{FF2B5EF4-FFF2-40B4-BE49-F238E27FC236}">
                <a16:creationId xmlns:a16="http://schemas.microsoft.com/office/drawing/2014/main" id="{FAAB001C-2A19-44C3-6C75-3DC5271464C6}"/>
              </a:ext>
            </a:extLst>
          </p:cNvPr>
          <p:cNvSpPr txBox="1"/>
          <p:nvPr/>
        </p:nvSpPr>
        <p:spPr>
          <a:xfrm>
            <a:off x="6414307" y="3928056"/>
            <a:ext cx="2229597" cy="307777"/>
          </a:xfrm>
          <a:prstGeom prst="rect">
            <a:avLst/>
          </a:prstGeom>
          <a:solidFill>
            <a:srgbClr val="EEECEA"/>
          </a:solidFill>
        </p:spPr>
        <p:txBody>
          <a:bodyPr wrap="square" rtlCol="0">
            <a:spAutoFit/>
          </a:bodyPr>
          <a:lstStyle/>
          <a:p>
            <a:pPr marL="342900" indent="-342900" algn="r">
              <a:spcBef>
                <a:spcPts val="400"/>
              </a:spcBef>
            </a:pPr>
            <a:r>
              <a:rPr lang="de-DE" sz="1400">
                <a:latin typeface="Calibri"/>
                <a:cs typeface="Calibri"/>
              </a:rPr>
              <a:t>ZAHLENRECHNEN</a:t>
            </a:r>
          </a:p>
        </p:txBody>
      </p:sp>
      <p:sp>
        <p:nvSpPr>
          <p:cNvPr id="18" name="Textfeld 17">
            <a:extLst>
              <a:ext uri="{FF2B5EF4-FFF2-40B4-BE49-F238E27FC236}">
                <a16:creationId xmlns:a16="http://schemas.microsoft.com/office/drawing/2014/main" id="{C5D106A9-6AE9-CEAD-E604-5D02C71C08CE}"/>
              </a:ext>
            </a:extLst>
          </p:cNvPr>
          <p:cNvSpPr txBox="1"/>
          <p:nvPr/>
        </p:nvSpPr>
        <p:spPr>
          <a:xfrm>
            <a:off x="6414307" y="5248183"/>
            <a:ext cx="2229597" cy="307777"/>
          </a:xfrm>
          <a:prstGeom prst="rect">
            <a:avLst/>
          </a:prstGeom>
          <a:solidFill>
            <a:srgbClr val="EEECEA"/>
          </a:solidFill>
        </p:spPr>
        <p:txBody>
          <a:bodyPr wrap="square" rtlCol="0">
            <a:spAutoFit/>
          </a:bodyPr>
          <a:lstStyle/>
          <a:p>
            <a:pPr marL="342900" indent="-342900" algn="r">
              <a:spcBef>
                <a:spcPts val="400"/>
              </a:spcBef>
            </a:pPr>
            <a:r>
              <a:rPr lang="de-DE" sz="1400">
                <a:latin typeface="Calibri"/>
                <a:cs typeface="Calibri"/>
              </a:rPr>
              <a:t>ZIFFERNRECHNEN</a:t>
            </a:r>
          </a:p>
        </p:txBody>
      </p:sp>
      <p:pic>
        <p:nvPicPr>
          <p:cNvPr id="19" name="Grafik 18" descr="Lupe mit einfarbiger Füllung">
            <a:extLst>
              <a:ext uri="{FF2B5EF4-FFF2-40B4-BE49-F238E27FC236}">
                <a16:creationId xmlns:a16="http://schemas.microsoft.com/office/drawing/2014/main" id="{81CFD436-291C-C491-C7FD-0CA8FF66EF93}"/>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bwMode="auto">
          <a:xfrm flipH="1">
            <a:off x="2438271" y="2454904"/>
            <a:ext cx="622592" cy="610225"/>
          </a:xfrm>
          <a:prstGeom prst="rect">
            <a:avLst/>
          </a:prstGeom>
        </p:spPr>
      </p:pic>
      <p:grpSp>
        <p:nvGrpSpPr>
          <p:cNvPr id="3" name="Gruppieren 2">
            <a:extLst>
              <a:ext uri="{FF2B5EF4-FFF2-40B4-BE49-F238E27FC236}">
                <a16:creationId xmlns:a16="http://schemas.microsoft.com/office/drawing/2014/main" id="{2C520C16-C63A-1475-06E5-2081FF43BF3D}"/>
              </a:ext>
            </a:extLst>
          </p:cNvPr>
          <p:cNvGrpSpPr/>
          <p:nvPr/>
        </p:nvGrpSpPr>
        <p:grpSpPr>
          <a:xfrm>
            <a:off x="107788" y="274288"/>
            <a:ext cx="8928424" cy="927211"/>
            <a:chOff x="0" y="0"/>
            <a:chExt cx="5818764" cy="733300"/>
          </a:xfrm>
        </p:grpSpPr>
        <p:sp>
          <p:nvSpPr>
            <p:cNvPr id="5" name="Gefaltete Ecke 8">
              <a:extLst>
                <a:ext uri="{FF2B5EF4-FFF2-40B4-BE49-F238E27FC236}">
                  <a16:creationId xmlns:a16="http://schemas.microsoft.com/office/drawing/2014/main" id="{F64C9203-3F01-890A-B421-CD6CEF904626}"/>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6" name="Textfeld 1">
              <a:extLst>
                <a:ext uri="{FF2B5EF4-FFF2-40B4-BE49-F238E27FC236}">
                  <a16:creationId xmlns:a16="http://schemas.microsoft.com/office/drawing/2014/main" id="{B6F2B6BF-DFA6-2876-0598-C46240809055}"/>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20" name="Picture 3">
            <a:extLst>
              <a:ext uri="{FF2B5EF4-FFF2-40B4-BE49-F238E27FC236}">
                <a16:creationId xmlns:a16="http://schemas.microsoft.com/office/drawing/2014/main" id="{CFFFFBD1-2E7F-2F62-AB22-387193252ACE}"/>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
        <p:nvSpPr>
          <p:cNvPr id="21" name="Rechteck 20">
            <a:extLst>
              <a:ext uri="{FF2B5EF4-FFF2-40B4-BE49-F238E27FC236}">
                <a16:creationId xmlns:a16="http://schemas.microsoft.com/office/drawing/2014/main" id="{1EC4E7F7-E37C-FB9E-7BF9-DF10C02D03C5}"/>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spTree>
    <p:extLst>
      <p:ext uri="{BB962C8B-B14F-4D97-AF65-F5344CB8AC3E}">
        <p14:creationId xmlns:p14="http://schemas.microsoft.com/office/powerpoint/2010/main" val="38849055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59A5C585-D72E-5E43-D66B-F39C83A07302}"/>
              </a:ext>
            </a:extLst>
          </p:cNvPr>
          <p:cNvSpPr>
            <a:spLocks noGrp="1"/>
          </p:cNvSpPr>
          <p:nvPr>
            <p:ph type="body" sz="quarter" idx="10"/>
          </p:nvPr>
        </p:nvSpPr>
        <p:spPr/>
        <p:txBody>
          <a:bodyPr/>
          <a:lstStyle/>
          <a:p>
            <a:r>
              <a:rPr lang="de-DE"/>
              <a:t>PIKAS 2023</a:t>
            </a:r>
          </a:p>
          <a:p>
            <a:endParaRPr lang="de-DE"/>
          </a:p>
        </p:txBody>
      </p:sp>
      <p:sp>
        <p:nvSpPr>
          <p:cNvPr id="2" name="Abgerundetes Rechteck 1">
            <a:extLst>
              <a:ext uri="{FF2B5EF4-FFF2-40B4-BE49-F238E27FC236}">
                <a16:creationId xmlns:a16="http://schemas.microsoft.com/office/drawing/2014/main" id="{60027C18-1ED6-DFEC-8384-70C6325B8698}"/>
              </a:ext>
            </a:extLst>
          </p:cNvPr>
          <p:cNvSpPr/>
          <p:nvPr/>
        </p:nvSpPr>
        <p:spPr bwMode="auto">
          <a:xfrm>
            <a:off x="2106643" y="1752671"/>
            <a:ext cx="2050933" cy="599205"/>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ahlen beschreiben und benennen. </a:t>
            </a:r>
          </a:p>
        </p:txBody>
      </p:sp>
      <p:sp>
        <p:nvSpPr>
          <p:cNvPr id="8" name="Inhaltsplatzhalter 1">
            <a:extLst>
              <a:ext uri="{FF2B5EF4-FFF2-40B4-BE49-F238E27FC236}">
                <a16:creationId xmlns:a16="http://schemas.microsoft.com/office/drawing/2014/main" id="{66FB2D79-0D28-4CE8-81C6-DD13802545D8}"/>
              </a:ext>
            </a:extLst>
          </p:cNvPr>
          <p:cNvSpPr txBox="1">
            <a:spLocks/>
          </p:cNvSpPr>
          <p:nvPr/>
        </p:nvSpPr>
        <p:spPr>
          <a:xfrm>
            <a:off x="5319693" y="4915520"/>
            <a:ext cx="8640000" cy="5580000"/>
          </a:xfrm>
          <a:prstGeom prst="rect">
            <a:avLst/>
          </a:prstGeom>
        </p:spPr>
        <p:txBody>
          <a:bodyPr vert="horz" wrap="square" lIns="0" tIns="0" rIns="0" bIns="0" rtlCol="0">
            <a:noAutofit/>
          </a:bodyPr>
          <a:lstStyle>
            <a:lvl1pPr marL="215900" indent="-215900" algn="l" rtl="0" eaLnBrk="1" fontAlgn="base" hangingPunct="1">
              <a:lnSpc>
                <a:spcPct val="100000"/>
              </a:lnSpc>
              <a:spcBef>
                <a:spcPts val="576"/>
              </a:spcBef>
              <a:spcAft>
                <a:spcPts val="600"/>
              </a:spcAft>
              <a:buClr>
                <a:schemeClr val="tx2"/>
              </a:buClr>
              <a:buSzPct val="85000"/>
              <a:buFont typeface="Wingdings" panose="05000000000000000000" pitchFamily="2" charset="2"/>
              <a:buChar char="§"/>
              <a:defRPr sz="1800">
                <a:solidFill>
                  <a:schemeClr val="tx1"/>
                </a:solidFill>
                <a:latin typeface="Calibri"/>
                <a:ea typeface="+mn-ea"/>
                <a:cs typeface="Calibri"/>
              </a:defRPr>
            </a:lvl1pPr>
            <a:lvl2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2pPr>
            <a:lvl3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3pPr>
            <a:lvl4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4pPr>
            <a:lvl5pPr marL="432000" indent="-216000" algn="l" rtl="0" eaLnBrk="1" fontAlgn="base" hangingPunct="1">
              <a:lnSpc>
                <a:spcPct val="100000"/>
              </a:lnSpc>
              <a:spcBef>
                <a:spcPct val="20000"/>
              </a:spcBef>
              <a:spcAft>
                <a:spcPts val="600"/>
              </a:spcAft>
              <a:buClr>
                <a:schemeClr val="tx2"/>
              </a:buClr>
              <a:buSzPct val="85000"/>
              <a:buFont typeface="Wingdings" panose="05000000000000000000" pitchFamily="2" charset="2"/>
              <a:buChar char="§"/>
              <a:defRPr sz="1600">
                <a:solidFill>
                  <a:schemeClr val="tx1"/>
                </a:solidFill>
                <a:latin typeface="Calibri"/>
                <a:ea typeface="+mn-ea"/>
                <a:cs typeface="Calibri"/>
              </a:defRPr>
            </a:lvl5pPr>
            <a:lvl6pPr marL="2514600" indent="-228600" algn="l" rtl="0" eaLnBrk="1" fontAlgn="base" hangingPunct="1">
              <a:spcBef>
                <a:spcPct val="20000"/>
              </a:spcBef>
              <a:spcAft>
                <a:spcPct val="0"/>
              </a:spcAft>
              <a:buBlip>
                <a:blip r:embed="rId3"/>
              </a:buBlip>
              <a:defRPr sz="1200">
                <a:solidFill>
                  <a:schemeClr val="tx1"/>
                </a:solidFill>
                <a:latin typeface="+mn-lt"/>
                <a:ea typeface="+mn-ea"/>
              </a:defRPr>
            </a:lvl6pPr>
            <a:lvl7pPr marL="2971800" indent="-228600" algn="l" rtl="0" eaLnBrk="1" fontAlgn="base" hangingPunct="1">
              <a:spcBef>
                <a:spcPct val="20000"/>
              </a:spcBef>
              <a:spcAft>
                <a:spcPct val="0"/>
              </a:spcAft>
              <a:buBlip>
                <a:blip r:embed="rId4"/>
              </a:buBlip>
              <a:defRPr sz="1200">
                <a:solidFill>
                  <a:schemeClr val="tx1"/>
                </a:solidFill>
                <a:latin typeface="+mn-lt"/>
                <a:ea typeface="+mn-ea"/>
              </a:defRPr>
            </a:lvl7pPr>
            <a:lvl8pPr marL="3429000" indent="-228600" algn="l" rtl="0" eaLnBrk="1" fontAlgn="base" hangingPunct="1">
              <a:spcBef>
                <a:spcPct val="20000"/>
              </a:spcBef>
              <a:spcAft>
                <a:spcPct val="0"/>
              </a:spcAft>
              <a:buBlip>
                <a:blip r:embed="rId4"/>
              </a:buBlip>
              <a:defRPr sz="1200">
                <a:solidFill>
                  <a:schemeClr val="tx1"/>
                </a:solidFill>
                <a:latin typeface="+mn-lt"/>
                <a:ea typeface="+mn-ea"/>
              </a:defRPr>
            </a:lvl8pPr>
            <a:lvl9pPr marL="3886200" indent="-228600" algn="l" rtl="0" eaLnBrk="1" fontAlgn="base" hangingPunct="1">
              <a:spcBef>
                <a:spcPct val="20000"/>
              </a:spcBef>
              <a:spcAft>
                <a:spcPct val="0"/>
              </a:spcAft>
              <a:buBlip>
                <a:blip r:embed="rId4"/>
              </a:buBlip>
              <a:defRPr sz="1200">
                <a:solidFill>
                  <a:schemeClr val="tx1"/>
                </a:solidFill>
                <a:latin typeface="+mn-lt"/>
                <a:ea typeface="+mn-ea"/>
              </a:defRPr>
            </a:lvl9pPr>
          </a:lstStyle>
          <a:p>
            <a:pPr marL="342900" indent="-342900">
              <a:buAutoNum type="arabicPeriod"/>
            </a:pPr>
            <a:endParaRPr lang="de-DE" sz="1400" kern="0"/>
          </a:p>
          <a:p>
            <a:pPr marL="342900" indent="-342900">
              <a:buAutoNum type="arabicPeriod"/>
            </a:pPr>
            <a:endParaRPr lang="de-DE" sz="1400" kern="0"/>
          </a:p>
          <a:p>
            <a:pPr marL="342900" indent="-342900">
              <a:buAutoNum type="arabicPeriod"/>
            </a:pPr>
            <a:endParaRPr lang="de-DE" sz="1400" kern="0"/>
          </a:p>
          <a:p>
            <a:endParaRPr lang="de-DE" sz="1400" kern="0">
              <a:solidFill>
                <a:srgbClr val="C00000"/>
              </a:solidFill>
            </a:endParaRPr>
          </a:p>
          <a:p>
            <a:endParaRPr lang="de-DE" sz="1400" kern="0">
              <a:solidFill>
                <a:srgbClr val="C00000"/>
              </a:solidFill>
            </a:endParaRPr>
          </a:p>
          <a:p>
            <a:pPr marL="0" indent="0">
              <a:buNone/>
            </a:pPr>
            <a:endParaRPr lang="de-DE" sz="1400" kern="0">
              <a:solidFill>
                <a:srgbClr val="C00000"/>
              </a:solidFill>
            </a:endParaRPr>
          </a:p>
        </p:txBody>
      </p:sp>
      <p:sp>
        <p:nvSpPr>
          <p:cNvPr id="11" name="Abgerundetes Rechteck 10">
            <a:extLst>
              <a:ext uri="{FF2B5EF4-FFF2-40B4-BE49-F238E27FC236}">
                <a16:creationId xmlns:a16="http://schemas.microsoft.com/office/drawing/2014/main" id="{BC3CEAF2-65EE-2AC5-3FA2-C64DD7AF3434}"/>
              </a:ext>
            </a:extLst>
          </p:cNvPr>
          <p:cNvSpPr/>
          <p:nvPr/>
        </p:nvSpPr>
        <p:spPr bwMode="auto">
          <a:xfrm>
            <a:off x="108000" y="2591800"/>
            <a:ext cx="2050933" cy="942487"/>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mit Material dargestellte Zahlen lesen (Zahlen sprechen) und darstellen.</a:t>
            </a:r>
          </a:p>
        </p:txBody>
      </p:sp>
      <p:sp>
        <p:nvSpPr>
          <p:cNvPr id="12" name="Abgerundete rechteckige Legende 11">
            <a:extLst>
              <a:ext uri="{FF2B5EF4-FFF2-40B4-BE49-F238E27FC236}">
                <a16:creationId xmlns:a16="http://schemas.microsoft.com/office/drawing/2014/main" id="{1C9F2A80-2C5F-C036-78F9-6D450395F7E7}"/>
              </a:ext>
            </a:extLst>
          </p:cNvPr>
          <p:cNvSpPr/>
          <p:nvPr/>
        </p:nvSpPr>
        <p:spPr bwMode="auto">
          <a:xfrm>
            <a:off x="4717952" y="1612765"/>
            <a:ext cx="2050933" cy="937228"/>
          </a:xfrm>
          <a:prstGeom prst="wedgeRoundRectCallout">
            <a:avLst>
              <a:gd name="adj1" fmla="val -16826"/>
              <a:gd name="adj2" fmla="val 464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dirty="0">
                <a:latin typeface="Calibri" panose="020F0502020204030204" pitchFamily="34" charset="0"/>
                <a:cs typeface="Calibri" panose="020F0502020204030204" pitchFamily="34" charset="0"/>
              </a:rPr>
              <a:t>Ich kann flexibel zählen (vorwärts, rückwärts, in Schritten, mit beliebiger Startzahl).</a:t>
            </a:r>
          </a:p>
        </p:txBody>
      </p:sp>
      <p:sp>
        <p:nvSpPr>
          <p:cNvPr id="13" name="Abgerundete rechteckige Legende 12">
            <a:extLst>
              <a:ext uri="{FF2B5EF4-FFF2-40B4-BE49-F238E27FC236}">
                <a16:creationId xmlns:a16="http://schemas.microsoft.com/office/drawing/2014/main" id="{E2B7386A-440F-2BE0-4EF9-AFBD677904DC}"/>
              </a:ext>
            </a:extLst>
          </p:cNvPr>
          <p:cNvSpPr/>
          <p:nvPr/>
        </p:nvSpPr>
        <p:spPr bwMode="auto">
          <a:xfrm>
            <a:off x="3824308" y="5792865"/>
            <a:ext cx="2050933" cy="599205"/>
          </a:xfrm>
          <a:prstGeom prst="wedgeRoundRectCallout">
            <a:avLst>
              <a:gd name="adj1" fmla="val -11095"/>
              <a:gd name="adj2" fmla="val -4755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ahlen in Stellenwerte zerlegen. </a:t>
            </a:r>
          </a:p>
        </p:txBody>
      </p:sp>
      <p:sp>
        <p:nvSpPr>
          <p:cNvPr id="14" name="Abgerundete rechteckige Legende 13">
            <a:extLst>
              <a:ext uri="{FF2B5EF4-FFF2-40B4-BE49-F238E27FC236}">
                <a16:creationId xmlns:a16="http://schemas.microsoft.com/office/drawing/2014/main" id="{959B2AB0-5DFB-37FA-EE25-CEFAFB2084A7}"/>
              </a:ext>
            </a:extLst>
          </p:cNvPr>
          <p:cNvSpPr/>
          <p:nvPr/>
        </p:nvSpPr>
        <p:spPr bwMode="auto">
          <a:xfrm>
            <a:off x="1388827" y="5531278"/>
            <a:ext cx="2050933" cy="599205"/>
          </a:xfrm>
          <a:prstGeom prst="wedgeRoundRectCallout">
            <a:avLst>
              <a:gd name="adj1" fmla="val 29240"/>
              <a:gd name="adj2" fmla="val -4777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bündeln und entbündeln</a:t>
            </a:r>
          </a:p>
        </p:txBody>
      </p:sp>
      <p:sp>
        <p:nvSpPr>
          <p:cNvPr id="15" name="Abgerundetes Rechteck 14">
            <a:extLst>
              <a:ext uri="{FF2B5EF4-FFF2-40B4-BE49-F238E27FC236}">
                <a16:creationId xmlns:a16="http://schemas.microsoft.com/office/drawing/2014/main" id="{5CF887E0-F9FF-083A-E988-B28D8B4F01DE}"/>
              </a:ext>
            </a:extLst>
          </p:cNvPr>
          <p:cNvSpPr/>
          <p:nvPr/>
        </p:nvSpPr>
        <p:spPr bwMode="auto">
          <a:xfrm>
            <a:off x="240853" y="3833239"/>
            <a:ext cx="2050933" cy="1405247"/>
          </a:xfrm>
          <a:prstGeom prst="round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wischen verschiedenen Darstellungsformen von Zahlen wechseln (mit Material, bildlich, symbolisch, sprachlich).</a:t>
            </a:r>
          </a:p>
        </p:txBody>
      </p:sp>
      <p:sp>
        <p:nvSpPr>
          <p:cNvPr id="16" name="Abgerundete rechteckige Legende 15">
            <a:extLst>
              <a:ext uri="{FF2B5EF4-FFF2-40B4-BE49-F238E27FC236}">
                <a16:creationId xmlns:a16="http://schemas.microsoft.com/office/drawing/2014/main" id="{4BBDD769-6CC2-A562-538E-4C242EF4CEAB}"/>
              </a:ext>
            </a:extLst>
          </p:cNvPr>
          <p:cNvSpPr/>
          <p:nvPr/>
        </p:nvSpPr>
        <p:spPr bwMode="auto">
          <a:xfrm>
            <a:off x="6944030" y="2578100"/>
            <a:ext cx="2050933" cy="1011714"/>
          </a:xfrm>
          <a:prstGeom prst="wedgeRoundRectCallout">
            <a:avLst>
              <a:gd name="adj1" fmla="val -21426"/>
              <a:gd name="adj2" fmla="val 44676"/>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Beziehungen zwischen Zahlen beschreiben (Nachbarzahlen, die Hälfte/ das Doppelte).</a:t>
            </a:r>
          </a:p>
        </p:txBody>
      </p:sp>
      <p:sp>
        <p:nvSpPr>
          <p:cNvPr id="17" name="Abgerundete rechteckige Legende 16">
            <a:extLst>
              <a:ext uri="{FF2B5EF4-FFF2-40B4-BE49-F238E27FC236}">
                <a16:creationId xmlns:a16="http://schemas.microsoft.com/office/drawing/2014/main" id="{95BF35FD-C912-3A4D-387A-0560021059DB}"/>
              </a:ext>
            </a:extLst>
          </p:cNvPr>
          <p:cNvSpPr/>
          <p:nvPr/>
        </p:nvSpPr>
        <p:spPr bwMode="auto">
          <a:xfrm>
            <a:off x="6874520" y="4290973"/>
            <a:ext cx="2050933" cy="599205"/>
          </a:xfrm>
          <a:prstGeom prst="wedgeRoundRectCallout">
            <a:avLst>
              <a:gd name="adj1" fmla="val -23006"/>
              <a:gd name="adj2" fmla="val 44807"/>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ahlen ordnen und vergleichen. </a:t>
            </a:r>
          </a:p>
        </p:txBody>
      </p:sp>
      <p:sp>
        <p:nvSpPr>
          <p:cNvPr id="18" name="Abgerundete rechteckige Legende 17">
            <a:extLst>
              <a:ext uri="{FF2B5EF4-FFF2-40B4-BE49-F238E27FC236}">
                <a16:creationId xmlns:a16="http://schemas.microsoft.com/office/drawing/2014/main" id="{76A020FE-5782-65FA-1350-532A5429F270}"/>
              </a:ext>
            </a:extLst>
          </p:cNvPr>
          <p:cNvSpPr/>
          <p:nvPr/>
        </p:nvSpPr>
        <p:spPr bwMode="auto">
          <a:xfrm>
            <a:off x="6644859" y="5680546"/>
            <a:ext cx="2050933" cy="599205"/>
          </a:xfrm>
          <a:prstGeom prst="wedgeRoundRectCallout">
            <a:avLst>
              <a:gd name="adj1" fmla="val -19454"/>
              <a:gd name="adj2" fmla="val -39960"/>
              <a:gd name="adj3" fmla="val 16667"/>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de-DE" sz="1100" i="1" kern="0">
                <a:latin typeface="Calibri" panose="020F0502020204030204" pitchFamily="34" charset="0"/>
                <a:cs typeface="Calibri" panose="020F0502020204030204" pitchFamily="34" charset="0"/>
              </a:rPr>
              <a:t>Ich kann Zahlen am Zahlenstrahl ablesen. </a:t>
            </a:r>
          </a:p>
        </p:txBody>
      </p:sp>
      <p:pic>
        <p:nvPicPr>
          <p:cNvPr id="6" name="Grafik 5">
            <a:extLst>
              <a:ext uri="{FF2B5EF4-FFF2-40B4-BE49-F238E27FC236}">
                <a16:creationId xmlns:a16="http://schemas.microsoft.com/office/drawing/2014/main" id="{D61238ED-D7C9-B028-6A30-AEC660F751F4}"/>
              </a:ext>
            </a:extLst>
          </p:cNvPr>
          <p:cNvPicPr>
            <a:picLocks noChangeAspect="1"/>
          </p:cNvPicPr>
          <p:nvPr/>
        </p:nvPicPr>
        <p:blipFill rotWithShape="1">
          <a:blip r:embed="rId5"/>
          <a:srcRect t="12585" r="41012" b="64047"/>
          <a:stretch/>
        </p:blipFill>
        <p:spPr>
          <a:xfrm>
            <a:off x="2363967" y="2813105"/>
            <a:ext cx="4404918" cy="2468244"/>
          </a:xfrm>
          <a:prstGeom prst="rect">
            <a:avLst/>
          </a:prstGeom>
          <a:ln>
            <a:solidFill>
              <a:srgbClr val="96939A"/>
            </a:solidFill>
          </a:ln>
        </p:spPr>
      </p:pic>
      <p:sp>
        <p:nvSpPr>
          <p:cNvPr id="10" name="Rechteck 9">
            <a:extLst>
              <a:ext uri="{FF2B5EF4-FFF2-40B4-BE49-F238E27FC236}">
                <a16:creationId xmlns:a16="http://schemas.microsoft.com/office/drawing/2014/main" id="{50F55CE7-9DF4-41E4-134B-5E1A4A70EBE1}"/>
              </a:ext>
            </a:extLst>
          </p:cNvPr>
          <p:cNvSpPr/>
          <p:nvPr/>
        </p:nvSpPr>
        <p:spPr bwMode="auto">
          <a:xfrm>
            <a:off x="0" y="6503940"/>
            <a:ext cx="2947388"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1: Kernbotschaft</a:t>
            </a:r>
          </a:p>
        </p:txBody>
      </p:sp>
      <p:grpSp>
        <p:nvGrpSpPr>
          <p:cNvPr id="19" name="Gruppieren 18">
            <a:extLst>
              <a:ext uri="{FF2B5EF4-FFF2-40B4-BE49-F238E27FC236}">
                <a16:creationId xmlns:a16="http://schemas.microsoft.com/office/drawing/2014/main" id="{E684AF26-3EDF-7598-7596-B37D66D3BFED}"/>
              </a:ext>
            </a:extLst>
          </p:cNvPr>
          <p:cNvGrpSpPr/>
          <p:nvPr/>
        </p:nvGrpSpPr>
        <p:grpSpPr>
          <a:xfrm>
            <a:off x="107788" y="274288"/>
            <a:ext cx="8928424" cy="927211"/>
            <a:chOff x="0" y="0"/>
            <a:chExt cx="5818764" cy="733300"/>
          </a:xfrm>
        </p:grpSpPr>
        <p:sp>
          <p:nvSpPr>
            <p:cNvPr id="20" name="Gefaltete Ecke 8">
              <a:extLst>
                <a:ext uri="{FF2B5EF4-FFF2-40B4-BE49-F238E27FC236}">
                  <a16:creationId xmlns:a16="http://schemas.microsoft.com/office/drawing/2014/main" id="{1BF8DB17-F79D-D140-D652-486A66800169}"/>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21" name="Textfeld 1">
              <a:extLst>
                <a:ext uri="{FF2B5EF4-FFF2-40B4-BE49-F238E27FC236}">
                  <a16:creationId xmlns:a16="http://schemas.microsoft.com/office/drawing/2014/main" id="{6F1C9350-E95A-0D3C-FAE6-B3D636B169B4}"/>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22" name="Picture 3">
            <a:extLst>
              <a:ext uri="{FF2B5EF4-FFF2-40B4-BE49-F238E27FC236}">
                <a16:creationId xmlns:a16="http://schemas.microsoft.com/office/drawing/2014/main" id="{BEC079EF-E61D-DF07-0C72-ABD193EC0752}"/>
              </a:ext>
            </a:extLst>
          </p:cNvPr>
          <p:cNvPicPr>
            <a:picLocks noChangeAspect="1"/>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Tree>
    <p:extLst>
      <p:ext uri="{BB962C8B-B14F-4D97-AF65-F5344CB8AC3E}">
        <p14:creationId xmlns:p14="http://schemas.microsoft.com/office/powerpoint/2010/main" val="33895845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animBg="1"/>
      <p:bldP spid="12" grpId="0" animBg="1"/>
      <p:bldP spid="13" grpId="0" animBg="1"/>
      <p:bldP spid="14" grpId="0" animBg="1"/>
      <p:bldP spid="15" grpId="0" animBg="1"/>
      <p:bldP spid="16" grpId="0" animBg="1"/>
      <p:bldP spid="17" grpId="0" animBg="1"/>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73333464-E14F-BF4E-B25D-762B732FCF6A}"/>
              </a:ext>
            </a:extLst>
          </p:cNvPr>
          <p:cNvSpPr>
            <a:spLocks noGrp="1"/>
          </p:cNvSpPr>
          <p:nvPr>
            <p:ph type="title"/>
          </p:nvPr>
        </p:nvSpPr>
        <p:spPr/>
        <p:txBody>
          <a:bodyPr/>
          <a:lstStyle/>
          <a:p>
            <a:r>
              <a:rPr lang="de-DE"/>
              <a:t>Sinn der nächsten Aktivität</a:t>
            </a:r>
          </a:p>
        </p:txBody>
      </p:sp>
      <p:graphicFrame>
        <p:nvGraphicFramePr>
          <p:cNvPr id="4" name="Tabelle 3">
            <a:extLst>
              <a:ext uri="{FF2B5EF4-FFF2-40B4-BE49-F238E27FC236}">
                <a16:creationId xmlns:a16="http://schemas.microsoft.com/office/drawing/2014/main" id="{405ADE95-74F3-E248-9762-1EA17D373EA1}"/>
              </a:ext>
            </a:extLst>
          </p:cNvPr>
          <p:cNvGraphicFramePr>
            <a:graphicFrameLocks noGrp="1"/>
          </p:cNvGraphicFramePr>
          <p:nvPr>
            <p:extLst>
              <p:ext uri="{D42A27DB-BD31-4B8C-83A1-F6EECF244321}">
                <p14:modId xmlns:p14="http://schemas.microsoft.com/office/powerpoint/2010/main" val="2433693528"/>
              </p:ext>
            </p:extLst>
          </p:nvPr>
        </p:nvGraphicFramePr>
        <p:xfrm>
          <a:off x="252827" y="898971"/>
          <a:ext cx="8639173" cy="797560"/>
        </p:xfrm>
        <a:graphic>
          <a:graphicData uri="http://schemas.openxmlformats.org/drawingml/2006/table">
            <a:tbl>
              <a:tblPr firstRow="1" bandRow="1">
                <a:tableStyleId>{5C22544A-7EE6-4342-B048-85BDC9FD1C3A}</a:tableStyleId>
              </a:tblPr>
              <a:tblGrid>
                <a:gridCol w="847840">
                  <a:extLst>
                    <a:ext uri="{9D8B030D-6E8A-4147-A177-3AD203B41FA5}">
                      <a16:colId xmlns:a16="http://schemas.microsoft.com/office/drawing/2014/main" val="1876710481"/>
                    </a:ext>
                  </a:extLst>
                </a:gridCol>
                <a:gridCol w="4233747">
                  <a:extLst>
                    <a:ext uri="{9D8B030D-6E8A-4147-A177-3AD203B41FA5}">
                      <a16:colId xmlns:a16="http://schemas.microsoft.com/office/drawing/2014/main" val="3781056649"/>
                    </a:ext>
                  </a:extLst>
                </a:gridCol>
                <a:gridCol w="3557586">
                  <a:extLst>
                    <a:ext uri="{9D8B030D-6E8A-4147-A177-3AD203B41FA5}">
                      <a16:colId xmlns:a16="http://schemas.microsoft.com/office/drawing/2014/main" val="3727531856"/>
                    </a:ext>
                  </a:extLst>
                </a:gridCol>
              </a:tblGrid>
              <a:tr h="370840">
                <a:tc>
                  <a:txBody>
                    <a:bodyPr/>
                    <a:lstStyle/>
                    <a:p>
                      <a:r>
                        <a:rPr lang="de-DE" sz="1100" b="1">
                          <a:solidFill>
                            <a:schemeClr val="accent1"/>
                          </a:solidFill>
                        </a:rPr>
                        <a:t>2. Phase: </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de-DE" sz="1100" b="1">
                          <a:solidFill>
                            <a:schemeClr val="accent1"/>
                          </a:solidFill>
                        </a:rPr>
                        <a:t>Aktivierung (5 Minute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de-DE" sz="1100">
                        <a:solidFill>
                          <a:schemeClr val="accent1"/>
                        </a:solidFill>
                      </a:endParaRP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30578184"/>
                  </a:ext>
                </a:extLst>
              </a:tr>
              <a:tr h="370840">
                <a:tc>
                  <a:txBody>
                    <a:bodyPr/>
                    <a:lstStyle/>
                    <a:p>
                      <a:r>
                        <a:rPr lang="de-DE" sz="1100">
                          <a:solidFill>
                            <a:schemeClr val="accent1"/>
                          </a:solidFill>
                        </a:rPr>
                        <a:t>5 Min</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a:solidFill>
                            <a:schemeClr val="accent1"/>
                          </a:solidFill>
                        </a:rPr>
                        <a:t>Auseinandersetzung mit den Standortbestimmungen zu den Basiskompetenzen eines tragfähigen Zahlverständnisses (Kl. 1/Kl. 2)</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de-DE" sz="1100">
                          <a:solidFill>
                            <a:schemeClr val="accent1"/>
                          </a:solidFill>
                        </a:rPr>
                        <a:t>Material: Standortbestimmungen (Kl. 1/Kl. 2) ausgedruckt</a:t>
                      </a:r>
                    </a:p>
                  </a:txBody>
                  <a:tcPr>
                    <a:lnL w="12700" cmpd="sng">
                      <a:noFill/>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3354566"/>
                  </a:ext>
                </a:extLst>
              </a:tr>
            </a:tbl>
          </a:graphicData>
        </a:graphic>
      </p:graphicFrame>
      <p:sp>
        <p:nvSpPr>
          <p:cNvPr id="5" name="Inhaltsplatzhalter 1">
            <a:extLst>
              <a:ext uri="{FF2B5EF4-FFF2-40B4-BE49-F238E27FC236}">
                <a16:creationId xmlns:a16="http://schemas.microsoft.com/office/drawing/2014/main" id="{5C65D83D-16B8-824C-AD1A-8831AC2486F6}"/>
              </a:ext>
            </a:extLst>
          </p:cNvPr>
          <p:cNvSpPr>
            <a:spLocks noGrp="1"/>
          </p:cNvSpPr>
          <p:nvPr>
            <p:ph idx="1"/>
          </p:nvPr>
        </p:nvSpPr>
        <p:spPr>
          <a:xfrm>
            <a:off x="252000" y="2043142"/>
            <a:ext cx="8640000" cy="4368436"/>
          </a:xfrm>
        </p:spPr>
        <p:txBody>
          <a:bodyPr/>
          <a:lstStyle/>
          <a:p>
            <a:r>
              <a:rPr lang="de-DE"/>
              <a:t>Die nächste Aktivierung dient dazu: </a:t>
            </a:r>
            <a:endParaRPr lang="de-DE" sz="1600"/>
          </a:p>
          <a:p>
            <a:pPr lvl="2"/>
            <a:r>
              <a:rPr lang="de-DE"/>
              <a:t>Standortbestimmungen als geeignetes Diagnoseinstrument zum Erfassen von Basiskompetenzen kennenzulernen sowie</a:t>
            </a:r>
          </a:p>
          <a:p>
            <a:pPr lvl="2"/>
            <a:r>
              <a:rPr lang="de-DE"/>
              <a:t>einen Überblick über gute Aufgaben zur Erfassung der Basiskompetenzen eines tragfähigen Zahlverständnisses zu gewinnen.</a:t>
            </a:r>
          </a:p>
          <a:p>
            <a:r>
              <a:rPr lang="de-DE"/>
              <a:t>Didaktische Umsetzung:</a:t>
            </a:r>
          </a:p>
          <a:p>
            <a:pPr lvl="2"/>
            <a:r>
              <a:rPr lang="de-DE"/>
              <a:t>Die </a:t>
            </a:r>
            <a:r>
              <a:rPr lang="de-DE" err="1"/>
              <a:t>Kolleg:innen</a:t>
            </a:r>
            <a:r>
              <a:rPr lang="de-DE"/>
              <a:t> setzen sich in Jahrgangteams (Kl. 1/Kl. 2) zusammen und betrachten die jeweils jahrgangsbezogenen Standortbestimmungen unter folgendem Reflexionsauftrag:</a:t>
            </a:r>
            <a:br>
              <a:rPr lang="de-DE"/>
            </a:br>
            <a:r>
              <a:rPr lang="de-DE" i="1"/>
              <a:t>Welche Basiskompetenzen werden in den einzelnen Aufgaben der SOB angesprochen?</a:t>
            </a:r>
          </a:p>
          <a:p>
            <a:pPr lvl="1"/>
            <a:r>
              <a:rPr lang="de-DE"/>
              <a:t>Die Standortbestimmung wird in verschiedenen Varianten angeboten. Folie 8 und 9 geben hierzu einen Überblick. Die ausgeblendeten Folien können genutzt werden, um bei Bedarf über einzelne Aufgaben gemeinsam zu sprechen.</a:t>
            </a:r>
          </a:p>
          <a:p>
            <a:pPr lvl="1"/>
            <a:r>
              <a:rPr lang="de-DE"/>
              <a:t>Folie 10 zu den neun Basiskompetenzen eines tragfähigen Zahlverständnisses kann während der Aktivierungsphase zur Orientierung eingeblendet werden.</a:t>
            </a:r>
          </a:p>
        </p:txBody>
      </p:sp>
      <p:sp>
        <p:nvSpPr>
          <p:cNvPr id="7" name="Rechteck 6">
            <a:extLst>
              <a:ext uri="{FF2B5EF4-FFF2-40B4-BE49-F238E27FC236}">
                <a16:creationId xmlns:a16="http://schemas.microsoft.com/office/drawing/2014/main" id="{44FF7D19-A3C8-6541-842B-ED8BDDC137A8}"/>
              </a:ext>
            </a:extLst>
          </p:cNvPr>
          <p:cNvSpPr/>
          <p:nvPr/>
        </p:nvSpPr>
        <p:spPr bwMode="auto">
          <a:xfrm>
            <a:off x="0" y="6503940"/>
            <a:ext cx="2067339"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r" defTabSz="914400" rtl="0" eaLnBrk="0" fontAlgn="base" latinLnBrk="0" hangingPunct="0">
              <a:lnSpc>
                <a:spcPct val="100000"/>
              </a:lnSpc>
              <a:spcBef>
                <a:spcPct val="0"/>
              </a:spcBef>
              <a:spcAft>
                <a:spcPct val="0"/>
              </a:spcAft>
              <a:buClrTx/>
              <a:buSzTx/>
              <a:buFontTx/>
              <a:buNone/>
              <a:tabLst/>
              <a:defRPr/>
            </a:pPr>
            <a:r>
              <a:rPr kumimoji="0" lang="de-DE" sz="1800" b="0" i="0" u="none" strike="noStrike" kern="1200" cap="none" spc="0" normalizeH="0" baseline="0" noProof="0">
                <a:ln>
                  <a:noFill/>
                </a:ln>
                <a:solidFill>
                  <a:srgbClr val="FFFFFF"/>
                </a:solidFill>
                <a:effectLst/>
                <a:uLnTx/>
                <a:uFillTx/>
                <a:latin typeface="Calibri Light" panose="020F0302020204030204" pitchFamily="34" charset="0"/>
                <a:ea typeface="ＭＳ Ｐゴシック" charset="-128"/>
                <a:cs typeface="Calibri Light" panose="020F0302020204030204" pitchFamily="34" charset="0"/>
              </a:rPr>
              <a:t>Phase 2: Aktivierung</a:t>
            </a:r>
          </a:p>
        </p:txBody>
      </p:sp>
    </p:spTree>
    <p:extLst>
      <p:ext uri="{BB962C8B-B14F-4D97-AF65-F5344CB8AC3E}">
        <p14:creationId xmlns:p14="http://schemas.microsoft.com/office/powerpoint/2010/main" val="18632116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2: Aktivierung</a:t>
            </a:r>
          </a:p>
        </p:txBody>
      </p:sp>
      <p:sp>
        <p:nvSpPr>
          <p:cNvPr id="27" name="Textfeld 26">
            <a:extLst>
              <a:ext uri="{FF2B5EF4-FFF2-40B4-BE49-F238E27FC236}">
                <a16:creationId xmlns:a16="http://schemas.microsoft.com/office/drawing/2014/main" id="{8E97F67B-7C29-9A49-D8A7-6FB066A3C957}"/>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a:latin typeface="Calibri"/>
                <a:cs typeface="Calibri"/>
              </a:rPr>
              <a:t>Klasse 1</a:t>
            </a:r>
          </a:p>
        </p:txBody>
      </p:sp>
      <p:sp>
        <p:nvSpPr>
          <p:cNvPr id="28" name="Textfeld 27">
            <a:extLst>
              <a:ext uri="{FF2B5EF4-FFF2-40B4-BE49-F238E27FC236}">
                <a16:creationId xmlns:a16="http://schemas.microsoft.com/office/drawing/2014/main" id="{6D5C9800-676E-81FD-C34F-D8807AEBE132}"/>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a:latin typeface="Calibri"/>
                <a:cs typeface="Calibri"/>
              </a:rPr>
              <a:t>Zahlenraum bis 20</a:t>
            </a:r>
          </a:p>
        </p:txBody>
      </p:sp>
      <p:grpSp>
        <p:nvGrpSpPr>
          <p:cNvPr id="3" name="Gruppieren 2">
            <a:extLst>
              <a:ext uri="{FF2B5EF4-FFF2-40B4-BE49-F238E27FC236}">
                <a16:creationId xmlns:a16="http://schemas.microsoft.com/office/drawing/2014/main" id="{5FE2C29D-2288-1D47-5B7D-732D705D3888}"/>
              </a:ext>
            </a:extLst>
          </p:cNvPr>
          <p:cNvGrpSpPr/>
          <p:nvPr/>
        </p:nvGrpSpPr>
        <p:grpSpPr>
          <a:xfrm>
            <a:off x="107788" y="274288"/>
            <a:ext cx="8928424" cy="927211"/>
            <a:chOff x="0" y="0"/>
            <a:chExt cx="5818764" cy="733300"/>
          </a:xfrm>
        </p:grpSpPr>
        <p:sp>
          <p:nvSpPr>
            <p:cNvPr id="8" name="Gefaltete Ecke 8">
              <a:extLst>
                <a:ext uri="{FF2B5EF4-FFF2-40B4-BE49-F238E27FC236}">
                  <a16:creationId xmlns:a16="http://schemas.microsoft.com/office/drawing/2014/main" id="{AE211297-EB31-9693-199A-BD485BE9C3D5}"/>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9" name="Textfeld 1">
              <a:extLst>
                <a:ext uri="{FF2B5EF4-FFF2-40B4-BE49-F238E27FC236}">
                  <a16:creationId xmlns:a16="http://schemas.microsoft.com/office/drawing/2014/main" id="{88C7AB41-4438-45DC-04CC-1BE6B90C69DD}"/>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0" name="Picture 3">
            <a:extLst>
              <a:ext uri="{FF2B5EF4-FFF2-40B4-BE49-F238E27FC236}">
                <a16:creationId xmlns:a16="http://schemas.microsoft.com/office/drawing/2014/main" id="{14274EB6-5AA3-EC7C-80AF-A3952A653B39}"/>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grpSp>
        <p:nvGrpSpPr>
          <p:cNvPr id="58" name="Gruppieren 57">
            <a:extLst>
              <a:ext uri="{FF2B5EF4-FFF2-40B4-BE49-F238E27FC236}">
                <a16:creationId xmlns:a16="http://schemas.microsoft.com/office/drawing/2014/main" id="{4758958E-5106-076C-5BD0-79069DDC4A5A}"/>
              </a:ext>
            </a:extLst>
          </p:cNvPr>
          <p:cNvGrpSpPr/>
          <p:nvPr/>
        </p:nvGrpSpPr>
        <p:grpSpPr>
          <a:xfrm>
            <a:off x="378121" y="1894855"/>
            <a:ext cx="8374480" cy="4496080"/>
            <a:chOff x="476172" y="1894855"/>
            <a:chExt cx="8374480" cy="4496080"/>
          </a:xfrm>
        </p:grpSpPr>
        <p:grpSp>
          <p:nvGrpSpPr>
            <p:cNvPr id="59" name="Gruppieren 58">
              <a:extLst>
                <a:ext uri="{FF2B5EF4-FFF2-40B4-BE49-F238E27FC236}">
                  <a16:creationId xmlns:a16="http://schemas.microsoft.com/office/drawing/2014/main" id="{4A229E5A-E0F2-8C44-5C48-4479490E5548}"/>
                </a:ext>
              </a:extLst>
            </p:cNvPr>
            <p:cNvGrpSpPr/>
            <p:nvPr/>
          </p:nvGrpSpPr>
          <p:grpSpPr>
            <a:xfrm>
              <a:off x="476172" y="1894855"/>
              <a:ext cx="8374480" cy="2968040"/>
              <a:chOff x="388332" y="2218879"/>
              <a:chExt cx="8374480" cy="2968040"/>
            </a:xfrm>
          </p:grpSpPr>
          <p:pic>
            <p:nvPicPr>
              <p:cNvPr id="69" name="Grafik 68">
                <a:extLst>
                  <a:ext uri="{FF2B5EF4-FFF2-40B4-BE49-F238E27FC236}">
                    <a16:creationId xmlns:a16="http://schemas.microsoft.com/office/drawing/2014/main" id="{67E06F50-ECF5-78C4-D894-52FEC9D1D883}"/>
                  </a:ext>
                </a:extLst>
              </p:cNvPr>
              <p:cNvPicPr>
                <a:picLocks noChangeAspect="1"/>
              </p:cNvPicPr>
              <p:nvPr/>
            </p:nvPicPr>
            <p:blipFill>
              <a:blip r:embed="rId4"/>
              <a:srcRect/>
              <a:stretch/>
            </p:blipFill>
            <p:spPr>
              <a:xfrm>
                <a:off x="1460811" y="2218879"/>
                <a:ext cx="1906728" cy="1440000"/>
              </a:xfrm>
              <a:prstGeom prst="rect">
                <a:avLst/>
              </a:prstGeom>
              <a:ln>
                <a:solidFill>
                  <a:schemeClr val="tx1"/>
                </a:solidFill>
              </a:ln>
            </p:spPr>
          </p:pic>
          <p:pic>
            <p:nvPicPr>
              <p:cNvPr id="70" name="Grafik 69">
                <a:extLst>
                  <a:ext uri="{FF2B5EF4-FFF2-40B4-BE49-F238E27FC236}">
                    <a16:creationId xmlns:a16="http://schemas.microsoft.com/office/drawing/2014/main" id="{7931BB81-8630-C5DF-C893-8B1472D267D3}"/>
                  </a:ext>
                </a:extLst>
              </p:cNvPr>
              <p:cNvPicPr>
                <a:picLocks noChangeAspect="1"/>
              </p:cNvPicPr>
              <p:nvPr/>
            </p:nvPicPr>
            <p:blipFill>
              <a:blip r:embed="rId5"/>
              <a:stretch>
                <a:fillRect/>
              </a:stretch>
            </p:blipFill>
            <p:spPr>
              <a:xfrm>
                <a:off x="388332" y="3746919"/>
                <a:ext cx="1920000" cy="1440000"/>
              </a:xfrm>
              <a:prstGeom prst="rect">
                <a:avLst/>
              </a:prstGeom>
              <a:ln>
                <a:solidFill>
                  <a:schemeClr val="tx1"/>
                </a:solidFill>
              </a:ln>
            </p:spPr>
          </p:pic>
          <p:pic>
            <p:nvPicPr>
              <p:cNvPr id="71" name="Grafik 70">
                <a:extLst>
                  <a:ext uri="{FF2B5EF4-FFF2-40B4-BE49-F238E27FC236}">
                    <a16:creationId xmlns:a16="http://schemas.microsoft.com/office/drawing/2014/main" id="{A9D2B300-663D-320F-0CC0-FA3C288AC016}"/>
                  </a:ext>
                </a:extLst>
              </p:cNvPr>
              <p:cNvPicPr>
                <a:picLocks noChangeAspect="1"/>
              </p:cNvPicPr>
              <p:nvPr/>
            </p:nvPicPr>
            <p:blipFill>
              <a:blip r:embed="rId6"/>
              <a:stretch>
                <a:fillRect/>
              </a:stretch>
            </p:blipFill>
            <p:spPr>
              <a:xfrm>
                <a:off x="6841332" y="3746919"/>
                <a:ext cx="1921480" cy="1440000"/>
              </a:xfrm>
              <a:prstGeom prst="rect">
                <a:avLst/>
              </a:prstGeom>
              <a:ln>
                <a:solidFill>
                  <a:schemeClr val="tx1"/>
                </a:solidFill>
              </a:ln>
            </p:spPr>
          </p:pic>
        </p:grpSp>
        <p:grpSp>
          <p:nvGrpSpPr>
            <p:cNvPr id="60" name="Gruppieren 59">
              <a:extLst>
                <a:ext uri="{FF2B5EF4-FFF2-40B4-BE49-F238E27FC236}">
                  <a16:creationId xmlns:a16="http://schemas.microsoft.com/office/drawing/2014/main" id="{7E9DAD21-B668-0292-7332-02000EE158C4}"/>
                </a:ext>
              </a:extLst>
            </p:cNvPr>
            <p:cNvGrpSpPr/>
            <p:nvPr/>
          </p:nvGrpSpPr>
          <p:grpSpPr>
            <a:xfrm>
              <a:off x="3706312" y="1894855"/>
              <a:ext cx="4098798" cy="4496080"/>
              <a:chOff x="3051862" y="2218879"/>
              <a:chExt cx="4098798" cy="4496080"/>
            </a:xfrm>
          </p:grpSpPr>
          <p:pic>
            <p:nvPicPr>
              <p:cNvPr id="66" name="Grafik 65">
                <a:extLst>
                  <a:ext uri="{FF2B5EF4-FFF2-40B4-BE49-F238E27FC236}">
                    <a16:creationId xmlns:a16="http://schemas.microsoft.com/office/drawing/2014/main" id="{6644FDA8-0208-4052-827C-E5D937BC82FE}"/>
                  </a:ext>
                </a:extLst>
              </p:cNvPr>
              <p:cNvPicPr>
                <a:picLocks noChangeAspect="1"/>
              </p:cNvPicPr>
              <p:nvPr/>
            </p:nvPicPr>
            <p:blipFill>
              <a:blip r:embed="rId7"/>
              <a:stretch>
                <a:fillRect/>
              </a:stretch>
            </p:blipFill>
            <p:spPr>
              <a:xfrm>
                <a:off x="3051862" y="2218879"/>
                <a:ext cx="1917042" cy="1440000"/>
              </a:xfrm>
              <a:prstGeom prst="rect">
                <a:avLst/>
              </a:prstGeom>
              <a:ln>
                <a:solidFill>
                  <a:schemeClr val="tx1"/>
                </a:solidFill>
              </a:ln>
            </p:spPr>
          </p:pic>
          <p:pic>
            <p:nvPicPr>
              <p:cNvPr id="67" name="Grafik 66">
                <a:extLst>
                  <a:ext uri="{FF2B5EF4-FFF2-40B4-BE49-F238E27FC236}">
                    <a16:creationId xmlns:a16="http://schemas.microsoft.com/office/drawing/2014/main" id="{7BBEF4EC-F9F8-1264-6568-CB471CF669B5}"/>
                  </a:ext>
                </a:extLst>
              </p:cNvPr>
              <p:cNvPicPr>
                <a:picLocks noChangeAspect="1"/>
              </p:cNvPicPr>
              <p:nvPr/>
            </p:nvPicPr>
            <p:blipFill>
              <a:blip r:embed="rId8"/>
              <a:stretch>
                <a:fillRect/>
              </a:stretch>
            </p:blipFill>
            <p:spPr>
              <a:xfrm>
                <a:off x="5226963" y="2218879"/>
                <a:ext cx="1923697" cy="1440000"/>
              </a:xfrm>
              <a:prstGeom prst="rect">
                <a:avLst/>
              </a:prstGeom>
              <a:ln>
                <a:solidFill>
                  <a:schemeClr val="tx1"/>
                </a:solidFill>
              </a:ln>
            </p:spPr>
          </p:pic>
          <p:pic>
            <p:nvPicPr>
              <p:cNvPr id="68" name="Grafik 67">
                <a:extLst>
                  <a:ext uri="{FF2B5EF4-FFF2-40B4-BE49-F238E27FC236}">
                    <a16:creationId xmlns:a16="http://schemas.microsoft.com/office/drawing/2014/main" id="{BFDFD422-80B6-7867-B021-91C13E22B1DD}"/>
                  </a:ext>
                </a:extLst>
              </p:cNvPr>
              <p:cNvPicPr>
                <a:picLocks noChangeAspect="1"/>
              </p:cNvPicPr>
              <p:nvPr/>
            </p:nvPicPr>
            <p:blipFill>
              <a:blip r:embed="rId9"/>
              <a:stretch>
                <a:fillRect/>
              </a:stretch>
            </p:blipFill>
            <p:spPr>
              <a:xfrm>
                <a:off x="3055337" y="5274959"/>
                <a:ext cx="1919261" cy="1440000"/>
              </a:xfrm>
              <a:prstGeom prst="rect">
                <a:avLst/>
              </a:prstGeom>
              <a:ln>
                <a:solidFill>
                  <a:schemeClr val="tx1"/>
                </a:solidFill>
              </a:ln>
            </p:spPr>
          </p:pic>
        </p:grpSp>
        <p:grpSp>
          <p:nvGrpSpPr>
            <p:cNvPr id="61" name="Gruppieren 60">
              <a:extLst>
                <a:ext uri="{FF2B5EF4-FFF2-40B4-BE49-F238E27FC236}">
                  <a16:creationId xmlns:a16="http://schemas.microsoft.com/office/drawing/2014/main" id="{B26D3282-4290-A23D-0A7B-3684F581A304}"/>
                </a:ext>
              </a:extLst>
            </p:cNvPr>
            <p:cNvGrpSpPr/>
            <p:nvPr/>
          </p:nvGrpSpPr>
          <p:grpSpPr>
            <a:xfrm>
              <a:off x="1534992" y="3422895"/>
              <a:ext cx="6270118" cy="2968040"/>
              <a:chOff x="1961100" y="3746919"/>
              <a:chExt cx="6270118" cy="2968040"/>
            </a:xfrm>
          </p:grpSpPr>
          <p:pic>
            <p:nvPicPr>
              <p:cNvPr id="62" name="Grafik 61">
                <a:extLst>
                  <a:ext uri="{FF2B5EF4-FFF2-40B4-BE49-F238E27FC236}">
                    <a16:creationId xmlns:a16="http://schemas.microsoft.com/office/drawing/2014/main" id="{84F6D4E8-1351-A386-EF9C-1E4F831F869D}"/>
                  </a:ext>
                </a:extLst>
              </p:cNvPr>
              <p:cNvPicPr>
                <a:picLocks noChangeAspect="1"/>
              </p:cNvPicPr>
              <p:nvPr/>
            </p:nvPicPr>
            <p:blipFill>
              <a:blip r:embed="rId10"/>
              <a:stretch>
                <a:fillRect/>
              </a:stretch>
            </p:blipFill>
            <p:spPr>
              <a:xfrm>
                <a:off x="5217737" y="3746919"/>
                <a:ext cx="1920000" cy="1440000"/>
              </a:xfrm>
              <a:prstGeom prst="rect">
                <a:avLst/>
              </a:prstGeom>
              <a:ln>
                <a:solidFill>
                  <a:schemeClr val="tx1"/>
                </a:solidFill>
              </a:ln>
            </p:spPr>
          </p:pic>
          <p:pic>
            <p:nvPicPr>
              <p:cNvPr id="63" name="Grafik 62">
                <a:extLst>
                  <a:ext uri="{FF2B5EF4-FFF2-40B4-BE49-F238E27FC236}">
                    <a16:creationId xmlns:a16="http://schemas.microsoft.com/office/drawing/2014/main" id="{B8A90E85-BB0E-F706-A42B-5C134CA7876F}"/>
                  </a:ext>
                </a:extLst>
              </p:cNvPr>
              <p:cNvPicPr>
                <a:picLocks noChangeAspect="1"/>
              </p:cNvPicPr>
              <p:nvPr/>
            </p:nvPicPr>
            <p:blipFill>
              <a:blip r:embed="rId11"/>
              <a:stretch>
                <a:fillRect/>
              </a:stretch>
            </p:blipFill>
            <p:spPr>
              <a:xfrm>
                <a:off x="1961100" y="5274959"/>
                <a:ext cx="1914092" cy="1440000"/>
              </a:xfrm>
              <a:prstGeom prst="rect">
                <a:avLst/>
              </a:prstGeom>
              <a:ln>
                <a:solidFill>
                  <a:schemeClr val="tx1"/>
                </a:solidFill>
              </a:ln>
            </p:spPr>
          </p:pic>
          <p:pic>
            <p:nvPicPr>
              <p:cNvPr id="64" name="Grafik 63">
                <a:extLst>
                  <a:ext uri="{FF2B5EF4-FFF2-40B4-BE49-F238E27FC236}">
                    <a16:creationId xmlns:a16="http://schemas.microsoft.com/office/drawing/2014/main" id="{DB1B8A39-5DDC-76E9-20E4-80482AF987A7}"/>
                  </a:ext>
                </a:extLst>
              </p:cNvPr>
              <p:cNvPicPr>
                <a:picLocks noChangeAspect="1"/>
              </p:cNvPicPr>
              <p:nvPr/>
            </p:nvPicPr>
            <p:blipFill>
              <a:blip r:embed="rId12"/>
              <a:stretch>
                <a:fillRect/>
              </a:stretch>
            </p:blipFill>
            <p:spPr>
              <a:xfrm>
                <a:off x="3061740" y="3746919"/>
                <a:ext cx="1920738" cy="1440000"/>
              </a:xfrm>
              <a:prstGeom prst="rect">
                <a:avLst/>
              </a:prstGeom>
              <a:ln>
                <a:solidFill>
                  <a:schemeClr val="tx1"/>
                </a:solidFill>
              </a:ln>
            </p:spPr>
          </p:pic>
          <p:pic>
            <p:nvPicPr>
              <p:cNvPr id="65" name="Grafik 64">
                <a:extLst>
                  <a:ext uri="{FF2B5EF4-FFF2-40B4-BE49-F238E27FC236}">
                    <a16:creationId xmlns:a16="http://schemas.microsoft.com/office/drawing/2014/main" id="{BE3F5450-D487-8EAC-77CA-D1678C31201C}"/>
                  </a:ext>
                </a:extLst>
              </p:cNvPr>
              <p:cNvPicPr>
                <a:picLocks noChangeAspect="1"/>
              </p:cNvPicPr>
              <p:nvPr/>
            </p:nvPicPr>
            <p:blipFill>
              <a:blip r:embed="rId13"/>
              <a:stretch>
                <a:fillRect/>
              </a:stretch>
            </p:blipFill>
            <p:spPr>
              <a:xfrm>
                <a:off x="6314176" y="5274959"/>
                <a:ext cx="1917042" cy="1440000"/>
              </a:xfrm>
              <a:prstGeom prst="rect">
                <a:avLst/>
              </a:prstGeom>
              <a:ln>
                <a:solidFill>
                  <a:schemeClr val="tx1"/>
                </a:solidFill>
              </a:ln>
            </p:spPr>
          </p:pic>
        </p:grpSp>
      </p:grpSp>
    </p:spTree>
    <p:extLst>
      <p:ext uri="{BB962C8B-B14F-4D97-AF65-F5344CB8AC3E}">
        <p14:creationId xmlns:p14="http://schemas.microsoft.com/office/powerpoint/2010/main" val="39495996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59715F6-DC47-1946-9F9D-D82AE29DA523}"/>
              </a:ext>
            </a:extLst>
          </p:cNvPr>
          <p:cNvSpPr/>
          <p:nvPr/>
        </p:nvSpPr>
        <p:spPr bwMode="auto">
          <a:xfrm>
            <a:off x="0" y="6503940"/>
            <a:ext cx="2105891" cy="375891"/>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defTabSz="914400" rtl="0" eaLnBrk="0" fontAlgn="base" latinLnBrk="0" hangingPunct="0">
              <a:lnSpc>
                <a:spcPct val="100000"/>
              </a:lnSpc>
              <a:spcBef>
                <a:spcPct val="0"/>
              </a:spcBef>
              <a:spcAft>
                <a:spcPct val="0"/>
              </a:spcAft>
              <a:buClrTx/>
              <a:buSzTx/>
              <a:buFontTx/>
              <a:buNone/>
              <a:tabLst/>
            </a:pPr>
            <a:r>
              <a:rPr kumimoji="0" lang="de-DE" sz="1800" u="none" strike="noStrike" cap="none" normalizeH="0" baseline="0">
                <a:ln>
                  <a:noFill/>
                </a:ln>
                <a:solidFill>
                  <a:schemeClr val="bg1"/>
                </a:solidFill>
                <a:effectLst/>
                <a:latin typeface="Calibri Light" panose="020F0302020204030204" pitchFamily="34" charset="0"/>
                <a:cs typeface="Calibri Light" panose="020F0302020204030204" pitchFamily="34" charset="0"/>
              </a:rPr>
              <a:t>Phase 2: Aktivierung</a:t>
            </a:r>
          </a:p>
        </p:txBody>
      </p:sp>
      <p:sp>
        <p:nvSpPr>
          <p:cNvPr id="27" name="Textfeld 26">
            <a:extLst>
              <a:ext uri="{FF2B5EF4-FFF2-40B4-BE49-F238E27FC236}">
                <a16:creationId xmlns:a16="http://schemas.microsoft.com/office/drawing/2014/main" id="{8E97F67B-7C29-9A49-D8A7-6FB066A3C957}"/>
              </a:ext>
            </a:extLst>
          </p:cNvPr>
          <p:cNvSpPr txBox="1"/>
          <p:nvPr/>
        </p:nvSpPr>
        <p:spPr>
          <a:xfrm>
            <a:off x="237583" y="1525523"/>
            <a:ext cx="1223228" cy="369332"/>
          </a:xfrm>
          <a:prstGeom prst="rect">
            <a:avLst/>
          </a:prstGeom>
          <a:noFill/>
        </p:spPr>
        <p:txBody>
          <a:bodyPr wrap="square" rtlCol="0">
            <a:spAutoFit/>
          </a:bodyPr>
          <a:lstStyle/>
          <a:p>
            <a:pPr marL="342900" indent="-342900">
              <a:spcBef>
                <a:spcPts val="400"/>
              </a:spcBef>
            </a:pPr>
            <a:r>
              <a:rPr lang="de-DE" sz="1800" b="1">
                <a:latin typeface="Calibri"/>
                <a:cs typeface="Calibri"/>
              </a:rPr>
              <a:t>Klasse 2</a:t>
            </a:r>
          </a:p>
        </p:txBody>
      </p:sp>
      <p:sp>
        <p:nvSpPr>
          <p:cNvPr id="28" name="Textfeld 27">
            <a:extLst>
              <a:ext uri="{FF2B5EF4-FFF2-40B4-BE49-F238E27FC236}">
                <a16:creationId xmlns:a16="http://schemas.microsoft.com/office/drawing/2014/main" id="{6D5C9800-676E-81FD-C34F-D8807AEBE132}"/>
              </a:ext>
            </a:extLst>
          </p:cNvPr>
          <p:cNvSpPr txBox="1"/>
          <p:nvPr/>
        </p:nvSpPr>
        <p:spPr>
          <a:xfrm>
            <a:off x="1352550" y="1525523"/>
            <a:ext cx="2297461" cy="369332"/>
          </a:xfrm>
          <a:prstGeom prst="rect">
            <a:avLst/>
          </a:prstGeom>
          <a:noFill/>
        </p:spPr>
        <p:txBody>
          <a:bodyPr wrap="square" rtlCol="0">
            <a:spAutoFit/>
          </a:bodyPr>
          <a:lstStyle/>
          <a:p>
            <a:pPr marL="342900" indent="-342900">
              <a:spcBef>
                <a:spcPts val="400"/>
              </a:spcBef>
            </a:pPr>
            <a:r>
              <a:rPr lang="de-DE" sz="1800" b="1">
                <a:latin typeface="Calibri"/>
                <a:cs typeface="Calibri"/>
              </a:rPr>
              <a:t>Zahlenraum bis 20</a:t>
            </a:r>
          </a:p>
        </p:txBody>
      </p:sp>
      <p:sp>
        <p:nvSpPr>
          <p:cNvPr id="29" name="Textfeld 28">
            <a:extLst>
              <a:ext uri="{FF2B5EF4-FFF2-40B4-BE49-F238E27FC236}">
                <a16:creationId xmlns:a16="http://schemas.microsoft.com/office/drawing/2014/main" id="{41CCA157-6FB6-61E4-B55A-819917009FC0}"/>
              </a:ext>
            </a:extLst>
          </p:cNvPr>
          <p:cNvSpPr txBox="1"/>
          <p:nvPr/>
        </p:nvSpPr>
        <p:spPr>
          <a:xfrm>
            <a:off x="5111599" y="1525523"/>
            <a:ext cx="3304788" cy="369332"/>
          </a:xfrm>
          <a:prstGeom prst="rect">
            <a:avLst/>
          </a:prstGeom>
          <a:noFill/>
        </p:spPr>
        <p:txBody>
          <a:bodyPr wrap="square" rtlCol="0">
            <a:spAutoFit/>
          </a:bodyPr>
          <a:lstStyle/>
          <a:p>
            <a:pPr marL="342900" indent="-342900">
              <a:spcBef>
                <a:spcPts val="400"/>
              </a:spcBef>
            </a:pPr>
            <a:r>
              <a:rPr lang="de-DE" sz="1800" b="1">
                <a:latin typeface="Calibri"/>
                <a:cs typeface="Calibri"/>
              </a:rPr>
              <a:t>Zahlenraum bis 20 (*bis 100)</a:t>
            </a:r>
          </a:p>
        </p:txBody>
      </p:sp>
      <p:pic>
        <p:nvPicPr>
          <p:cNvPr id="4" name="Grafik 3">
            <a:extLst>
              <a:ext uri="{FF2B5EF4-FFF2-40B4-BE49-F238E27FC236}">
                <a16:creationId xmlns:a16="http://schemas.microsoft.com/office/drawing/2014/main" id="{CF41ACF4-AE4D-7319-194F-5932DE1DC46B}"/>
              </a:ext>
            </a:extLst>
          </p:cNvPr>
          <p:cNvPicPr>
            <a:picLocks noChangeAspect="1"/>
          </p:cNvPicPr>
          <p:nvPr/>
        </p:nvPicPr>
        <p:blipFill>
          <a:blip r:embed="rId3"/>
          <a:srcRect/>
          <a:stretch/>
        </p:blipFill>
        <p:spPr>
          <a:xfrm>
            <a:off x="1460811" y="1923817"/>
            <a:ext cx="3170973" cy="448525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1" name="Rechteck 30">
            <a:extLst>
              <a:ext uri="{FF2B5EF4-FFF2-40B4-BE49-F238E27FC236}">
                <a16:creationId xmlns:a16="http://schemas.microsoft.com/office/drawing/2014/main" id="{B1A378A1-FD0E-C9E9-D808-8464759D8B86}"/>
              </a:ext>
            </a:extLst>
          </p:cNvPr>
          <p:cNvSpPr/>
          <p:nvPr/>
        </p:nvSpPr>
        <p:spPr bwMode="auto">
          <a:xfrm rot="853524">
            <a:off x="3546447" y="1703231"/>
            <a:ext cx="1292193"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a:ln>
                  <a:noFill/>
                </a:ln>
                <a:solidFill>
                  <a:schemeClr val="bg1"/>
                </a:solidFill>
                <a:effectLst/>
                <a:latin typeface="+mn-lt"/>
                <a:cs typeface="Calibri Light" panose="020F0302020204030204" pitchFamily="34" charset="0"/>
              </a:rPr>
              <a:t>Rückblick</a:t>
            </a:r>
          </a:p>
        </p:txBody>
      </p:sp>
      <p:pic>
        <p:nvPicPr>
          <p:cNvPr id="5" name="Grafik 4">
            <a:extLst>
              <a:ext uri="{FF2B5EF4-FFF2-40B4-BE49-F238E27FC236}">
                <a16:creationId xmlns:a16="http://schemas.microsoft.com/office/drawing/2014/main" id="{A9A0AFD5-908E-22FB-49E0-76C2FFAF4F3D}"/>
              </a:ext>
            </a:extLst>
          </p:cNvPr>
          <p:cNvPicPr>
            <a:picLocks noChangeAspect="1"/>
          </p:cNvPicPr>
          <p:nvPr/>
        </p:nvPicPr>
        <p:blipFill>
          <a:blip r:embed="rId4"/>
          <a:srcRect/>
          <a:stretch/>
        </p:blipFill>
        <p:spPr>
          <a:xfrm>
            <a:off x="5216902" y="1888794"/>
            <a:ext cx="3170973" cy="451578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Rechteck 5">
            <a:extLst>
              <a:ext uri="{FF2B5EF4-FFF2-40B4-BE49-F238E27FC236}">
                <a16:creationId xmlns:a16="http://schemas.microsoft.com/office/drawing/2014/main" id="{C2342EB7-A54B-916C-800F-4F797797D69C}"/>
              </a:ext>
            </a:extLst>
          </p:cNvPr>
          <p:cNvSpPr/>
          <p:nvPr/>
        </p:nvSpPr>
        <p:spPr bwMode="auto">
          <a:xfrm>
            <a:off x="79111" y="3807695"/>
            <a:ext cx="1223227" cy="350805"/>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lang="de-DE" sz="1600" b="1">
                <a:solidFill>
                  <a:schemeClr val="bg1"/>
                </a:solidFill>
                <a:latin typeface="+mn-lt"/>
                <a:cs typeface="Calibri Light" panose="020F0302020204030204" pitchFamily="34" charset="0"/>
              </a:rPr>
              <a:t>2 Varianten</a:t>
            </a:r>
            <a:endParaRPr kumimoji="0" lang="de-DE" sz="1600" b="1" u="none" strike="noStrike" cap="none" normalizeH="0" baseline="0">
              <a:ln>
                <a:noFill/>
              </a:ln>
              <a:solidFill>
                <a:schemeClr val="bg1"/>
              </a:solidFill>
              <a:effectLst/>
              <a:latin typeface="+mn-lt"/>
              <a:cs typeface="Calibri Light" panose="020F0302020204030204" pitchFamily="34" charset="0"/>
            </a:endParaRPr>
          </a:p>
        </p:txBody>
      </p:sp>
      <p:sp>
        <p:nvSpPr>
          <p:cNvPr id="7" name="Rechteck 6">
            <a:extLst>
              <a:ext uri="{FF2B5EF4-FFF2-40B4-BE49-F238E27FC236}">
                <a16:creationId xmlns:a16="http://schemas.microsoft.com/office/drawing/2014/main" id="{7D41F790-A5FD-6C41-4FA7-2D26570FBF10}"/>
              </a:ext>
            </a:extLst>
          </p:cNvPr>
          <p:cNvSpPr/>
          <p:nvPr/>
        </p:nvSpPr>
        <p:spPr bwMode="auto">
          <a:xfrm rot="853524">
            <a:off x="7741778" y="2029214"/>
            <a:ext cx="1292193" cy="534158"/>
          </a:xfrm>
          <a:prstGeom prst="rect">
            <a:avLst/>
          </a:prstGeom>
          <a:solidFill>
            <a:srgbClr val="327A86"/>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de-DE" sz="1600" b="1" u="none" strike="noStrike" cap="none" normalizeH="0" baseline="0" dirty="0">
                <a:ln>
                  <a:noFill/>
                </a:ln>
                <a:solidFill>
                  <a:schemeClr val="bg1"/>
                </a:solidFill>
                <a:effectLst/>
                <a:latin typeface="+mn-lt"/>
                <a:cs typeface="Calibri Light" panose="020F0302020204030204" pitchFamily="34" charset="0"/>
              </a:rPr>
              <a:t>Rückblick &amp;</a:t>
            </a:r>
            <a:endParaRPr lang="de-DE" sz="1600" b="1" dirty="0">
              <a:solidFill>
                <a:schemeClr val="bg1"/>
              </a:solidFill>
              <a:latin typeface="+mn-lt"/>
              <a:cs typeface="Calibri Light" panose="020F0302020204030204" pitchFamily="34" charset="0"/>
            </a:endParaRPr>
          </a:p>
          <a:p>
            <a:pPr marL="0" marR="0" indent="0" algn="ctr" defTabSz="914400" rtl="0" eaLnBrk="0" fontAlgn="base" latinLnBrk="0" hangingPunct="0">
              <a:lnSpc>
                <a:spcPct val="100000"/>
              </a:lnSpc>
              <a:spcBef>
                <a:spcPct val="0"/>
              </a:spcBef>
              <a:spcAft>
                <a:spcPct val="0"/>
              </a:spcAft>
              <a:buClrTx/>
              <a:buSzTx/>
              <a:buFontTx/>
              <a:buNone/>
              <a:tabLst/>
            </a:pPr>
            <a:r>
              <a:rPr lang="de-DE" sz="1600" b="1" dirty="0">
                <a:solidFill>
                  <a:schemeClr val="bg1"/>
                </a:solidFill>
                <a:latin typeface="+mn-lt"/>
                <a:cs typeface="Calibri Light" panose="020F0302020204030204" pitchFamily="34" charset="0"/>
              </a:rPr>
              <a:t>Aus</a:t>
            </a:r>
            <a:r>
              <a:rPr kumimoji="0" lang="de-DE" sz="1600" b="1" u="none" strike="noStrike" cap="none" normalizeH="0" baseline="0" dirty="0">
                <a:ln>
                  <a:noFill/>
                </a:ln>
                <a:solidFill>
                  <a:schemeClr val="bg1"/>
                </a:solidFill>
                <a:effectLst/>
                <a:latin typeface="+mn-lt"/>
                <a:cs typeface="Calibri Light" panose="020F0302020204030204" pitchFamily="34" charset="0"/>
              </a:rPr>
              <a:t>blick</a:t>
            </a:r>
          </a:p>
        </p:txBody>
      </p:sp>
      <p:grpSp>
        <p:nvGrpSpPr>
          <p:cNvPr id="3" name="Gruppieren 2">
            <a:extLst>
              <a:ext uri="{FF2B5EF4-FFF2-40B4-BE49-F238E27FC236}">
                <a16:creationId xmlns:a16="http://schemas.microsoft.com/office/drawing/2014/main" id="{FE48392A-905B-FE77-63A6-33BFC623755A}"/>
              </a:ext>
            </a:extLst>
          </p:cNvPr>
          <p:cNvGrpSpPr/>
          <p:nvPr/>
        </p:nvGrpSpPr>
        <p:grpSpPr>
          <a:xfrm>
            <a:off x="107788" y="274288"/>
            <a:ext cx="8928424" cy="927211"/>
            <a:chOff x="0" y="0"/>
            <a:chExt cx="5818764" cy="733300"/>
          </a:xfrm>
        </p:grpSpPr>
        <p:sp>
          <p:nvSpPr>
            <p:cNvPr id="10" name="Gefaltete Ecke 8">
              <a:extLst>
                <a:ext uri="{FF2B5EF4-FFF2-40B4-BE49-F238E27FC236}">
                  <a16:creationId xmlns:a16="http://schemas.microsoft.com/office/drawing/2014/main" id="{873CA9B8-1C03-2C39-38AE-FB5D951E93BF}"/>
                </a:ext>
              </a:extLst>
            </p:cNvPr>
            <p:cNvSpPr/>
            <p:nvPr/>
          </p:nvSpPr>
          <p:spPr>
            <a:xfrm>
              <a:off x="0" y="0"/>
              <a:ext cx="5818764" cy="733300"/>
            </a:xfrm>
            <a:prstGeom prst="foldedCorner">
              <a:avLst>
                <a:gd name="adj" fmla="val 0"/>
              </a:avLst>
            </a:prstGeom>
            <a:solidFill>
              <a:schemeClr val="bg1"/>
            </a:solidFill>
            <a:ln w="63500" cmpd="dbl">
              <a:solidFill>
                <a:srgbClr val="327C88"/>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eaLnBrk="0" fontAlgn="base" hangingPunct="0">
                <a:lnSpc>
                  <a:spcPct val="115000"/>
                </a:lnSpc>
              </a:pPr>
              <a:r>
                <a:rPr lang="de-DE" sz="1400" kern="1200">
                  <a:solidFill>
                    <a:srgbClr val="000000"/>
                  </a:solidFill>
                  <a:effectLst/>
                  <a:ea typeface="Calibri" panose="020F0502020204030204" pitchFamily="34" charset="0"/>
                  <a:cs typeface="Calibri" panose="020F0502020204030204" pitchFamily="34" charset="0"/>
                </a:rPr>
                <a:t> </a:t>
              </a:r>
              <a:endParaRPr lang="de-DE" sz="1200">
                <a:effectLst/>
                <a:ea typeface="Calibri" panose="020F0502020204030204" pitchFamily="34" charset="0"/>
                <a:cs typeface="Times New Roman" panose="02020603050405020304" pitchFamily="18" charset="0"/>
              </a:endParaRPr>
            </a:p>
          </p:txBody>
        </p:sp>
        <p:sp>
          <p:nvSpPr>
            <p:cNvPr id="12" name="Textfeld 1">
              <a:extLst>
                <a:ext uri="{FF2B5EF4-FFF2-40B4-BE49-F238E27FC236}">
                  <a16:creationId xmlns:a16="http://schemas.microsoft.com/office/drawing/2014/main" id="{30F6673F-F8D4-5227-C6D5-56BEE34653A5}"/>
                </a:ext>
              </a:extLst>
            </p:cNvPr>
            <p:cNvSpPr txBox="1"/>
            <p:nvPr/>
          </p:nvSpPr>
          <p:spPr>
            <a:xfrm>
              <a:off x="586537" y="73312"/>
              <a:ext cx="5209742" cy="580390"/>
            </a:xfrm>
            <a:prstGeom prst="rect">
              <a:avLst/>
            </a:prstGeom>
            <a:solidFill>
              <a:schemeClr val="lt1"/>
            </a:solidFill>
            <a:ln w="6350">
              <a:noFill/>
            </a:ln>
          </p:spPr>
          <p:txBody>
            <a:bodyPr rot="0" spcFirstLastPara="0" vert="horz" wrap="square" lIns="91440" tIns="45720" rIns="91440" bIns="45720" numCol="1" spcCol="0" rtlCol="0" fromWordArt="0" anchor="t" anchorCtr="0" forceAA="0" compatLnSpc="1">
              <a:prstTxWarp prst="textNoShape">
                <a:avLst/>
              </a:prstTxWarp>
              <a:noAutofit/>
            </a:bodyPr>
            <a:lstStyle/>
            <a:p>
              <a:pPr eaLnBrk="0" fontAlgn="base" hangingPunct="0">
                <a:lnSpc>
                  <a:spcPct val="115000"/>
                </a:lnSpc>
              </a:pPr>
              <a:r>
                <a:rPr lang="de-DE" sz="1600" kern="1200" cap="small">
                  <a:solidFill>
                    <a:srgbClr val="000000"/>
                  </a:solidFill>
                  <a:effectLst/>
                  <a:latin typeface="Calibri" panose="020F0502020204030204" pitchFamily="34" charset="0"/>
                  <a:ea typeface="Calibri" panose="020F0502020204030204" pitchFamily="34" charset="0"/>
                  <a:cs typeface="Calibri" panose="020F0502020204030204" pitchFamily="34" charset="0"/>
                </a:rPr>
                <a:t>Kernbotschaft</a:t>
              </a:r>
              <a:r>
                <a:rPr lang="de-DE" sz="1600" kern="1200">
                  <a:solidFill>
                    <a:srgbClr val="000000"/>
                  </a:solidFill>
                  <a:effectLst/>
                  <a:latin typeface="Calibri" panose="020F0502020204030204" pitchFamily="34" charset="0"/>
                  <a:ea typeface="Calibri" panose="020F0502020204030204" pitchFamily="34" charset="0"/>
                  <a:cs typeface="Calibri" panose="020F0502020204030204" pitchFamily="34" charset="0"/>
                </a:rPr>
                <a:t>: Ich diagnostiziere mit Hilfe von Standortbestimmungen (frühe) mathematische Basiskompetenzen der Lernenden, um eine passende Förderung zu gestalten.</a:t>
              </a:r>
              <a:r>
                <a:rPr lang="de-DE" sz="1100">
                  <a:effectLst/>
                  <a:latin typeface="Calibri" panose="020F0502020204030204" pitchFamily="34" charset="0"/>
                  <a:ea typeface="Calibri" panose="020F0502020204030204" pitchFamily="34" charset="0"/>
                  <a:cs typeface="Times New Roman" panose="02020603050405020304" pitchFamily="18" charset="0"/>
                </a:rPr>
                <a:t> </a:t>
              </a:r>
            </a:p>
          </p:txBody>
        </p:sp>
      </p:grpSp>
      <p:pic>
        <p:nvPicPr>
          <p:cNvPr id="14" name="Picture 3">
            <a:extLst>
              <a:ext uri="{FF2B5EF4-FFF2-40B4-BE49-F238E27FC236}">
                <a16:creationId xmlns:a16="http://schemas.microsoft.com/office/drawing/2014/main" id="{5B1AB94B-0CCF-F476-259F-C475C6A5A7D1}"/>
              </a:ext>
            </a:extLst>
          </p:cNvPr>
          <p:cNvPicPr>
            <a:picLocks noChangeAspect="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2000" y="468148"/>
            <a:ext cx="646284" cy="539251"/>
          </a:xfrm>
          <a:prstGeom prst="rect">
            <a:avLst/>
          </a:prstGeom>
          <a:noFill/>
          <a:ln>
            <a:noFill/>
          </a:ln>
        </p:spPr>
      </p:pic>
    </p:spTree>
    <p:extLst>
      <p:ext uri="{BB962C8B-B14F-4D97-AF65-F5344CB8AC3E}">
        <p14:creationId xmlns:p14="http://schemas.microsoft.com/office/powerpoint/2010/main" val="243876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halts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D9358B8D-09F5-054A-8BCF-17C2C2EF5762}"/>
    </a:ext>
  </a:extLst>
</a:theme>
</file>

<file path=ppt/theme/theme2.xml><?xml version="1.0" encoding="utf-8"?>
<a:theme xmlns:a="http://schemas.openxmlformats.org/drawingml/2006/main" name="Zwischenfolien für Fortbildende">
  <a:themeElements>
    <a:clrScheme name="DZLM">
      <a:dk1>
        <a:sysClr val="windowText" lastClr="000000"/>
      </a:dk1>
      <a:lt1>
        <a:srgbClr val="FFFFFF"/>
      </a:lt1>
      <a:dk2>
        <a:srgbClr val="327A86"/>
      </a:dk2>
      <a:lt2>
        <a:srgbClr val="F8B44F"/>
      </a:lt2>
      <a:accent1>
        <a:srgbClr val="737373"/>
      </a:accent1>
      <a:accent2>
        <a:srgbClr val="C8D2D8"/>
      </a:accent2>
      <a:accent3>
        <a:srgbClr val="A44168"/>
      </a:accent3>
      <a:accent4>
        <a:srgbClr val="CCDEE1"/>
      </a:accent4>
      <a:accent5>
        <a:srgbClr val="FDECD3"/>
      </a:accent5>
      <a:accent6>
        <a:srgbClr val="CDB987"/>
      </a:accent6>
      <a:hlink>
        <a:srgbClr val="327A86"/>
      </a:hlink>
      <a:folHlink>
        <a:srgbClr val="327A86"/>
      </a:folHlink>
    </a:clrScheme>
    <a:fontScheme name="DZLM">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9525" cap="flat" cmpd="sng" algn="ctr">
          <a:solidFill>
            <a:schemeClr val="tx2"/>
          </a:solidFill>
          <a:prstDash val="solid"/>
          <a:round/>
          <a:headEnd type="none" w="med" len="med"/>
          <a:tailEnd type="none" w="med" len="med"/>
        </a:ln>
        <a:effectLst/>
      </a:spPr>
      <a:bodyPr vert="horz" wrap="square" lIns="91440" tIns="45720" rIns="91440" bIns="45720" numCol="1" rtlCol="0"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sz="2000" b="0" i="0" u="none" strike="noStrike" cap="none" normalizeH="0" baseline="0" dirty="0" err="1" smtClean="0">
            <a:ln>
              <a:noFill/>
            </a:ln>
            <a:solidFill>
              <a:schemeClr val="tx1"/>
            </a:solidFill>
            <a:effectLst/>
            <a:latin typeface="Calibri" panose="020F050202020403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400" b="0" i="0" u="none" strike="noStrike" cap="none" normalizeH="0" baseline="0">
            <a:ln>
              <a:noFill/>
            </a:ln>
            <a:solidFill>
              <a:schemeClr val="tx1"/>
            </a:solidFill>
            <a:effectLst/>
            <a:latin typeface="Arial" charset="0"/>
            <a:ea typeface="ＭＳ Ｐゴシック" charset="-128"/>
            <a:cs typeface="ＭＳ Ｐゴシック" charset="-128"/>
          </a:defRPr>
        </a:defPPr>
      </a:lstStyle>
    </a:lnDef>
    <a:txDef>
      <a:spPr>
        <a:noFill/>
      </a:spPr>
      <a:bodyPr wrap="square" rtlCol="0">
        <a:spAutoFit/>
      </a:bodyPr>
      <a:lstStyle>
        <a:defPPr marL="342900" indent="-342900">
          <a:spcBef>
            <a:spcPts val="400"/>
          </a:spcBef>
          <a:defRPr sz="1800" dirty="0">
            <a:latin typeface="Calibri"/>
            <a:cs typeface="Calibri"/>
          </a:defRPr>
        </a:defPPr>
      </a:lstStyle>
    </a:txDef>
  </a:objectDefaults>
  <a:extraClrSchemeLst>
    <a:extraClrScheme>
      <a:clrScheme name="Leere Prä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Leere Prä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Leere Prä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Leere Prä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Leere Prä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Leere Prä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Leere Prä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Leere Prä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Leere Prä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Leere Prä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Leere Prä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Leere Prä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äsentation12" id="{336AD2A7-7271-1648-A128-D9B4289F9F2E}" vid="{53B5120C-6402-A94B-B51A-6846CF7BCE9A}"/>
    </a:ext>
  </a:extLst>
</a:theme>
</file>

<file path=ppt/theme/theme3.xml><?xml version="1.0" encoding="utf-8"?>
<a:theme xmlns:a="http://schemas.openxmlformats.org/drawingml/2006/main" name="Start- und Endfoli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AD50C85F-74FA-F248-BD2E-7B40B469646A}"/>
    </a:ext>
  </a:extLst>
</a:theme>
</file>

<file path=ppt/theme/theme4.xml><?xml version="1.0" encoding="utf-8"?>
<a:theme xmlns:a="http://schemas.openxmlformats.org/drawingml/2006/main" name="IPN-Kontext">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5C9DF1BE-03CD-C944-94D6-3E060F04A4F6}"/>
    </a:ext>
  </a:extLst>
</a:theme>
</file>

<file path=ppt/theme/theme5.xml><?xml version="1.0" encoding="utf-8"?>
<a:theme xmlns:a="http://schemas.openxmlformats.org/drawingml/2006/main" name="IPN-Kontext mit Balken">
  <a:themeElements>
    <a:clrScheme name="DZLM">
      <a:dk1>
        <a:sysClr val="windowText" lastClr="000000"/>
      </a:dk1>
      <a:lt1>
        <a:srgbClr val="FFFFFF"/>
      </a:lt1>
      <a:dk2>
        <a:srgbClr val="327A86"/>
      </a:dk2>
      <a:lt2>
        <a:srgbClr val="F8B44F"/>
      </a:lt2>
      <a:accent1>
        <a:srgbClr val="327A86"/>
      </a:accent1>
      <a:accent2>
        <a:srgbClr val="A44168"/>
      </a:accent2>
      <a:accent3>
        <a:srgbClr val="737373"/>
      </a:accent3>
      <a:accent4>
        <a:srgbClr val="F8B44F"/>
      </a:accent4>
      <a:accent5>
        <a:srgbClr val="000000"/>
      </a:accent5>
      <a:accent6>
        <a:srgbClr val="FFFFFF"/>
      </a:accent6>
      <a:hlink>
        <a:srgbClr val="327A86"/>
      </a:hlink>
      <a:folHlink>
        <a:srgbClr val="327A8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äsentation12" id="{336AD2A7-7271-1648-A128-D9B4289F9F2E}" vid="{B277896F-B328-6344-82FC-8198A6CE5E31}"/>
    </a:ext>
  </a:extLst>
</a:theme>
</file>

<file path=ppt/theme/theme6.xml><?xml version="1.0" encoding="utf-8"?>
<a:theme xmlns:a="http://schemas.openxmlformats.org/drawingml/2006/main" name="Office-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Inhaltsfolien</Template>
  <TotalTime>0</TotalTime>
  <Words>2242</Words>
  <Application>Microsoft Macintosh PowerPoint</Application>
  <PresentationFormat>Bildschirmpräsentation (4:3)</PresentationFormat>
  <Paragraphs>264</Paragraphs>
  <Slides>17</Slides>
  <Notes>15</Notes>
  <HiddenSlides>7</HiddenSlides>
  <MMClips>0</MMClips>
  <ScaleCrop>false</ScaleCrop>
  <HeadingPairs>
    <vt:vector size="8" baseType="variant">
      <vt:variant>
        <vt:lpstr>Verwendete Schriftarten</vt:lpstr>
      </vt:variant>
      <vt:variant>
        <vt:i4>6</vt:i4>
      </vt:variant>
      <vt:variant>
        <vt:lpstr>Design</vt:lpstr>
      </vt:variant>
      <vt:variant>
        <vt:i4>5</vt:i4>
      </vt:variant>
      <vt:variant>
        <vt:lpstr>Eingebettete OLE-Server</vt:lpstr>
      </vt:variant>
      <vt:variant>
        <vt:i4>1</vt:i4>
      </vt:variant>
      <vt:variant>
        <vt:lpstr>Folientitel</vt:lpstr>
      </vt:variant>
      <vt:variant>
        <vt:i4>17</vt:i4>
      </vt:variant>
    </vt:vector>
  </HeadingPairs>
  <TitlesOfParts>
    <vt:vector size="29" baseType="lpstr">
      <vt:lpstr>Arial</vt:lpstr>
      <vt:lpstr>Calibri</vt:lpstr>
      <vt:lpstr>Calibri Light</vt:lpstr>
      <vt:lpstr>Calibri Normal</vt:lpstr>
      <vt:lpstr>Times New Roman</vt:lpstr>
      <vt:lpstr>Wingdings</vt:lpstr>
      <vt:lpstr>Inhaltsfolien</vt:lpstr>
      <vt:lpstr>Zwischenfolien für Fortbildende</vt:lpstr>
      <vt:lpstr>Start- und Endfolien</vt:lpstr>
      <vt:lpstr>IPN-Kontext</vt:lpstr>
      <vt:lpstr>IPN-Kontext mit Balken</vt:lpstr>
      <vt:lpstr>think-cell Folie</vt:lpstr>
      <vt:lpstr>PowerPoint-Präsentation</vt:lpstr>
      <vt:lpstr>Hinweise zu den Lizenzbedingungen</vt:lpstr>
      <vt:lpstr>Hinweis zur Nutzung der urheberrechtlich geschützten Bilder und Videos</vt:lpstr>
      <vt:lpstr>Sinn des nächsten Inputs</vt:lpstr>
      <vt:lpstr>PowerPoint-Präsentation</vt:lpstr>
      <vt:lpstr>PowerPoint-Präsentation</vt:lpstr>
      <vt:lpstr>Sinn der nächsten Aktivität</vt:lpstr>
      <vt:lpstr>PowerPoint-Präsentation</vt:lpstr>
      <vt:lpstr>PowerPoint-Präsentation</vt:lpstr>
      <vt:lpstr>PowerPoint-Präsentation</vt:lpstr>
      <vt:lpstr>PowerPoint-Präsentation</vt:lpstr>
      <vt:lpstr>PowerPoint-Präsentation</vt:lpstr>
      <vt:lpstr>Sinn des nächsten Inputs</vt:lpstr>
      <vt:lpstr>PowerPoint-Präsentation</vt:lpstr>
      <vt:lpstr>PowerPoint-Präsentation</vt:lpstr>
      <vt:lpstr>PowerPoint-Präsentatio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Microsoft Office User</dc:creator>
  <cp:keywords/>
  <dc:description/>
  <cp:lastModifiedBy>Johanna Brandt</cp:lastModifiedBy>
  <cp:revision>8</cp:revision>
  <cp:lastPrinted>2017-05-16T11:48:33Z</cp:lastPrinted>
  <dcterms:created xsi:type="dcterms:W3CDTF">2021-04-08T06:27:02Z</dcterms:created>
  <dcterms:modified xsi:type="dcterms:W3CDTF">2024-06-14T09:44:32Z</dcterms:modified>
  <cp:category/>
</cp:coreProperties>
</file>